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diagrams/colors22.xml" ContentType="application/vnd.openxmlformats-officedocument.drawingml.diagramColors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tableStyles.xml" ContentType="application/vnd.openxmlformats-officedocument.presentationml.tableStyles+xml"/>
  <Override PartName="/ppt/diagrams/layout17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quickStyle20.xml" ContentType="application/vnd.openxmlformats-officedocument.drawingml.diagramStyle+xml"/>
  <Override PartName="/ppt/notesSlides/notesSlide7.xml" ContentType="application/vnd.openxmlformats-officedocument.presentationml.notesSlide+xml"/>
  <Override PartName="/ppt/diagrams/drawing21.xml" ContentType="application/vnd.ms-office.drawingml.diagramDrawing+xml"/>
  <Override PartName="/ppt/diagrams/colors4.xml" ContentType="application/vnd.openxmlformats-officedocument.drawingml.diagramColors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diagrams/drawing10.xml" ContentType="application/vnd.ms-office.drawingml.diagramDrawing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diagrams/layout20.xml" ContentType="application/vnd.openxmlformats-officedocument.drawingml.diagramLayout+xml"/>
  <Override PartName="/ppt/diagrams/drawing3.xml" ContentType="application/vnd.ms-office.drawingml.diagramDrawing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43.xml" ContentType="application/vnd.openxmlformats-officedocument.presentationml.slideLayout+xml"/>
  <Default Extension="emf" ContentType="image/x-emf"/>
  <Override PartName="/ppt/diagrams/data21.xml" ContentType="application/vnd.openxmlformats-officedocument.drawingml.diagramData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layout18.xml" ContentType="application/vnd.openxmlformats-officedocument.drawingml.diagramLayout+xml"/>
  <Default Extension="wdp" ContentType="image/vnd.ms-photo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Default Extension="gif" ContentType="image/gif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diagrams/drawing11.xml" ContentType="application/vnd.ms-office.drawingml.diagramDrawing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diagrams/drawing4.xml" ContentType="application/vnd.ms-office.drawingml.diagramDrawing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diagrams/data22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diagrams/quickStyle15.xml" ContentType="application/vnd.openxmlformats-officedocument.drawingml.diagramStyle+xml"/>
  <Override PartName="/ppt/diagrams/layout19.xml" ContentType="application/vnd.openxmlformats-officedocument.drawingml.diagramLayout+xml"/>
  <Override PartName="/ppt/diagrams/drawing16.xml" ContentType="application/vnd.ms-office.drawingml.diagramDrawing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22.xml" ContentType="application/vnd.openxmlformats-officedocument.drawingml.diagramStyle+xml"/>
  <Override PartName="/ppt/diagrams/drawing23.xml" ContentType="application/vnd.ms-office.drawingml.diagramDrawing+xml"/>
  <Override PartName="/ppt/diagrams/drawing9.xml" ContentType="application/vnd.ms-office.drawingml.diagramDrawing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colors18.xml" ContentType="application/vnd.openxmlformats-officedocument.drawingml.diagramColors+xml"/>
  <Override PartName="/ppt/diagrams/drawing12.xml" ContentType="application/vnd.ms-office.drawingml.diagramDrawing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notesSlides/notesSlide5.xml" ContentType="application/vnd.openxmlformats-officedocument.presentationml.notesSlide+xml"/>
  <Override PartName="/ppt/diagrams/layout22.xml" ContentType="application/vnd.openxmlformats-officedocument.drawingml.diagramLayout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diagrams/data23.xml" ContentType="application/vnd.openxmlformats-officedocument.drawingml.diagramData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diagrams/quickStyle23.xml" ContentType="application/vnd.openxmlformats-officedocument.drawingml.diagramStyle+xml"/>
  <Override PartName="/ppt/diagrams/drawing13.xml" ContentType="application/vnd.ms-office.drawingml.diagramDrawing+xml"/>
  <Override PartName="/ppt/notesSlides/notesSlide6.xml" ContentType="application/vnd.openxmlformats-officedocument.presentationml.notesSlide+xml"/>
  <Override PartName="/ppt/diagrams/layout23.xml" ContentType="application/vnd.openxmlformats-officedocument.drawingml.diagramLayout+xml"/>
  <Override PartName="/ppt/diagrams/drawing20.xml" ContentType="application/vnd.ms-office.drawingml.diagramDrawing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ata17.xml" ContentType="application/vnd.openxmlformats-officedocument.drawingml.diagramData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diagrams/layout13.xml" ContentType="application/vnd.openxmlformats-officedocument.drawingml.diagramLayout+xml"/>
  <Override PartName="/ppt/diagrams/drawing7.xml" ContentType="application/vnd.ms-office.drawingml.diagramDrawing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diagrams/quickStyle7.xml" ContentType="application/vnd.openxmlformats-officedocument.drawingml.diagramStyle+xml"/>
  <Override PartName="/ppt/notesSlides/notesSlide3.xml" ContentType="application/vnd.openxmlformats-officedocument.presentationml.notesSlide+xml"/>
  <Override PartName="/ppt/diagrams/colors12.xml" ContentType="application/vnd.openxmlformats-officedocument.drawingml.diagramColors+xml"/>
  <Override PartName="/ppt/diagrams/colors23.xml" ContentType="application/vnd.openxmlformats-officedocument.drawingml.diagramColor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diagrams/drawing19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73" r:id="rId5"/>
    <p:sldMasterId id="2147484551" r:id="rId6"/>
    <p:sldMasterId id="2147484532" r:id="rId7"/>
    <p:sldMasterId id="2147484541" r:id="rId8"/>
    <p:sldMasterId id="2147484945" r:id="rId9"/>
    <p:sldMasterId id="2147484951" r:id="rId10"/>
  </p:sldMasterIdLst>
  <p:notesMasterIdLst>
    <p:notesMasterId r:id="rId56"/>
  </p:notesMasterIdLst>
  <p:handoutMasterIdLst>
    <p:handoutMasterId r:id="rId57"/>
  </p:handoutMasterIdLst>
  <p:sldIdLst>
    <p:sldId id="526" r:id="rId11"/>
    <p:sldId id="941" r:id="rId12"/>
    <p:sldId id="977" r:id="rId13"/>
    <p:sldId id="962" r:id="rId14"/>
    <p:sldId id="676" r:id="rId15"/>
    <p:sldId id="677" r:id="rId16"/>
    <p:sldId id="979" r:id="rId17"/>
    <p:sldId id="1002" r:id="rId18"/>
    <p:sldId id="980" r:id="rId19"/>
    <p:sldId id="982" r:id="rId20"/>
    <p:sldId id="981" r:id="rId21"/>
    <p:sldId id="959" r:id="rId22"/>
    <p:sldId id="876" r:id="rId23"/>
    <p:sldId id="883" r:id="rId24"/>
    <p:sldId id="896" r:id="rId25"/>
    <p:sldId id="960" r:id="rId26"/>
    <p:sldId id="983" r:id="rId27"/>
    <p:sldId id="984" r:id="rId28"/>
    <p:sldId id="985" r:id="rId29"/>
    <p:sldId id="986" r:id="rId30"/>
    <p:sldId id="933" r:id="rId31"/>
    <p:sldId id="965" r:id="rId32"/>
    <p:sldId id="904" r:id="rId33"/>
    <p:sldId id="906" r:id="rId34"/>
    <p:sldId id="987" r:id="rId35"/>
    <p:sldId id="909" r:id="rId36"/>
    <p:sldId id="989" r:id="rId37"/>
    <p:sldId id="990" r:id="rId38"/>
    <p:sldId id="991" r:id="rId39"/>
    <p:sldId id="992" r:id="rId40"/>
    <p:sldId id="993" r:id="rId41"/>
    <p:sldId id="994" r:id="rId42"/>
    <p:sldId id="918" r:id="rId43"/>
    <p:sldId id="922" r:id="rId44"/>
    <p:sldId id="995" r:id="rId45"/>
    <p:sldId id="996" r:id="rId46"/>
    <p:sldId id="975" r:id="rId47"/>
    <p:sldId id="928" r:id="rId48"/>
    <p:sldId id="930" r:id="rId49"/>
    <p:sldId id="998" r:id="rId50"/>
    <p:sldId id="999" r:id="rId51"/>
    <p:sldId id="1000" r:id="rId52"/>
    <p:sldId id="1001" r:id="rId53"/>
    <p:sldId id="953" r:id="rId54"/>
    <p:sldId id="859" r:id="rId55"/>
  </p:sldIdLst>
  <p:sldSz cx="9144000" cy="6858000" type="screen4x3"/>
  <p:notesSz cx="7010400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7D287"/>
    <a:srgbClr val="FFCC00"/>
    <a:srgbClr val="FFFF99"/>
    <a:srgbClr val="000099"/>
    <a:srgbClr val="FF9900"/>
    <a:srgbClr val="800000"/>
    <a:srgbClr val="CC0000"/>
    <a:srgbClr val="FFFFCC"/>
    <a:srgbClr val="996633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snapVertSplitter="1" vertBarState="minimized" horzBarState="maximized">
    <p:restoredLeft sz="34578" autoAdjust="0"/>
    <p:restoredTop sz="98208" autoAdjust="0"/>
  </p:normalViewPr>
  <p:slideViewPr>
    <p:cSldViewPr>
      <p:cViewPr>
        <p:scale>
          <a:sx n="90" d="100"/>
          <a:sy n="90" d="100"/>
        </p:scale>
        <p:origin x="-426" y="2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874" y="-84"/>
      </p:cViewPr>
      <p:guideLst>
        <p:guide orient="horz" pos="2928"/>
        <p:guide pos="2209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FBBEB9-EF89-4145-8D42-FCBD20941E46}" type="doc">
      <dgm:prSet loTypeId="urn:microsoft.com/office/officeart/2005/8/layout/orgChart1" loCatId="hierarchy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s-CO"/>
        </a:p>
      </dgm:t>
    </dgm:pt>
    <dgm:pt modelId="{C5382F2C-03F2-44AA-899F-10A436D334F8}">
      <dgm:prSet phldrT="[Texto]" custT="1"/>
      <dgm:spPr/>
      <dgm:t>
        <a:bodyPr/>
        <a:lstStyle/>
        <a:p>
          <a:r>
            <a:rPr lang="es-CO" sz="1100" b="1" dirty="0" smtClean="0">
              <a:solidFill>
                <a:schemeClr val="tx1"/>
              </a:solidFill>
            </a:rPr>
            <a:t>POBLACION </a:t>
          </a:r>
        </a:p>
        <a:p>
          <a:r>
            <a:rPr lang="es-CO" sz="1100" b="1" dirty="0" smtClean="0">
              <a:solidFill>
                <a:schemeClr val="tx1"/>
              </a:solidFill>
            </a:rPr>
            <a:t> 15- 24 AÑOS  </a:t>
          </a:r>
        </a:p>
        <a:p>
          <a:r>
            <a:rPr lang="es-CO" sz="1100" b="1" dirty="0" smtClean="0">
              <a:solidFill>
                <a:schemeClr val="tx1"/>
              </a:solidFill>
            </a:rPr>
            <a:t>2012</a:t>
          </a:r>
        </a:p>
        <a:p>
          <a:r>
            <a:rPr lang="es-CO" sz="1100" b="1" dirty="0" smtClean="0">
              <a:solidFill>
                <a:schemeClr val="tx1"/>
              </a:solidFill>
            </a:rPr>
            <a:t>8.603.000 (100%)</a:t>
          </a:r>
          <a:endParaRPr lang="es-CO" sz="1100" b="1" dirty="0">
            <a:solidFill>
              <a:schemeClr val="tx1"/>
            </a:solidFill>
          </a:endParaRPr>
        </a:p>
      </dgm:t>
    </dgm:pt>
    <dgm:pt modelId="{8F7A79A5-6D21-49A0-BE1C-59A16E1DDA8B}" type="parTrans" cxnId="{63A91038-8EB4-4C4C-A85C-FBC1A2B78A7E}">
      <dgm:prSet/>
      <dgm:spPr/>
      <dgm:t>
        <a:bodyPr/>
        <a:lstStyle/>
        <a:p>
          <a:endParaRPr lang="es-CO"/>
        </a:p>
      </dgm:t>
    </dgm:pt>
    <dgm:pt modelId="{34D45C78-BC4D-43C1-92EC-563DC989C991}" type="sibTrans" cxnId="{63A91038-8EB4-4C4C-A85C-FBC1A2B78A7E}">
      <dgm:prSet/>
      <dgm:spPr/>
      <dgm:t>
        <a:bodyPr/>
        <a:lstStyle/>
        <a:p>
          <a:endParaRPr lang="es-CO"/>
        </a:p>
      </dgm:t>
    </dgm:pt>
    <dgm:pt modelId="{B311A8E1-77ED-4E9A-8E14-467B811AF557}" type="asst">
      <dgm:prSet phldrT="[Texto]" custT="1"/>
      <dgm:spPr/>
      <dgm:t>
        <a:bodyPr/>
        <a:lstStyle/>
        <a:p>
          <a:r>
            <a:rPr lang="es-CO" sz="1100" b="1" dirty="0" smtClean="0">
              <a:solidFill>
                <a:schemeClr val="tx1"/>
              </a:solidFill>
            </a:rPr>
            <a:t>FINALIZARON SECUNDARIA</a:t>
          </a:r>
        </a:p>
        <a:p>
          <a:r>
            <a:rPr lang="es-CO" sz="1100" b="1" dirty="0" smtClean="0">
              <a:solidFill>
                <a:schemeClr val="tx1"/>
              </a:solidFill>
            </a:rPr>
            <a:t>4.794.000 ( 55.7%)</a:t>
          </a:r>
          <a:endParaRPr lang="es-CO" sz="1100" b="1" dirty="0">
            <a:solidFill>
              <a:schemeClr val="tx1"/>
            </a:solidFill>
          </a:endParaRPr>
        </a:p>
      </dgm:t>
    </dgm:pt>
    <dgm:pt modelId="{A2C124F6-F57E-4390-A47C-9E22BEB59A49}" type="parTrans" cxnId="{C6C67CDF-5762-491B-B5CA-4070EAC2D5B6}">
      <dgm:prSet/>
      <dgm:spPr/>
      <dgm:t>
        <a:bodyPr/>
        <a:lstStyle/>
        <a:p>
          <a:endParaRPr lang="es-CO"/>
        </a:p>
      </dgm:t>
    </dgm:pt>
    <dgm:pt modelId="{7083AEDD-FBA7-447E-A2C4-8C68A6644BBD}" type="sibTrans" cxnId="{C6C67CDF-5762-491B-B5CA-4070EAC2D5B6}">
      <dgm:prSet/>
      <dgm:spPr/>
      <dgm:t>
        <a:bodyPr/>
        <a:lstStyle/>
        <a:p>
          <a:endParaRPr lang="es-CO"/>
        </a:p>
      </dgm:t>
    </dgm:pt>
    <dgm:pt modelId="{7C6B1117-F080-4005-9C07-05E28DBD9932}">
      <dgm:prSet phldrT="[Texto]" custT="1"/>
      <dgm:spPr>
        <a:solidFill>
          <a:schemeClr val="accent2">
            <a:lumMod val="60000"/>
            <a:lumOff val="40000"/>
          </a:schemeClr>
        </a:solidFill>
        <a:ln>
          <a:solidFill>
            <a:schemeClr val="accent2">
              <a:lumMod val="60000"/>
              <a:lumOff val="40000"/>
            </a:schemeClr>
          </a:solidFill>
        </a:ln>
      </dgm:spPr>
      <dgm:t>
        <a:bodyPr/>
        <a:lstStyle/>
        <a:p>
          <a:r>
            <a:rPr lang="es-CO" sz="1000" b="1" dirty="0" smtClean="0">
              <a:solidFill>
                <a:schemeClr val="tx1"/>
              </a:solidFill>
            </a:rPr>
            <a:t>REALIZAN  EDUCACIÓN O FORMACIÓN  POS SECUNDARIA</a:t>
          </a:r>
        </a:p>
        <a:p>
          <a:r>
            <a:rPr lang="es-CO" sz="1000" b="1" dirty="0" smtClean="0">
              <a:solidFill>
                <a:schemeClr val="tx1"/>
              </a:solidFill>
            </a:rPr>
            <a:t>3.064.000 (63,9%)</a:t>
          </a:r>
          <a:endParaRPr lang="es-CO" sz="1000" b="1" dirty="0">
            <a:solidFill>
              <a:schemeClr val="tx1"/>
            </a:solidFill>
          </a:endParaRPr>
        </a:p>
      </dgm:t>
    </dgm:pt>
    <dgm:pt modelId="{87724410-4FFA-4014-8B90-92B0BCF273DC}" type="parTrans" cxnId="{1FE36F64-E264-4F64-8266-EFA52FC05728}">
      <dgm:prSet/>
      <dgm:spPr/>
      <dgm:t>
        <a:bodyPr/>
        <a:lstStyle/>
        <a:p>
          <a:endParaRPr lang="es-CO"/>
        </a:p>
      </dgm:t>
    </dgm:pt>
    <dgm:pt modelId="{4ECD2987-0BE5-4E8E-AE34-CC20B7BDC5A6}" type="sibTrans" cxnId="{1FE36F64-E264-4F64-8266-EFA52FC05728}">
      <dgm:prSet/>
      <dgm:spPr/>
      <dgm:t>
        <a:bodyPr/>
        <a:lstStyle/>
        <a:p>
          <a:endParaRPr lang="es-CO"/>
        </a:p>
      </dgm:t>
    </dgm:pt>
    <dgm:pt modelId="{3549F1CA-A974-48C0-9384-0E59DF4E5A48}">
      <dgm:prSet phldrT="[Texto]" custT="1"/>
      <dgm:spPr/>
      <dgm:t>
        <a:bodyPr/>
        <a:lstStyle/>
        <a:p>
          <a:r>
            <a:rPr lang="es-CO" sz="1100" b="1" dirty="0" smtClean="0">
              <a:solidFill>
                <a:schemeClr val="tx1"/>
              </a:solidFill>
            </a:rPr>
            <a:t> </a:t>
          </a:r>
          <a:r>
            <a:rPr lang="es-CO" sz="1000" b="1" dirty="0" smtClean="0">
              <a:solidFill>
                <a:schemeClr val="tx1"/>
              </a:solidFill>
            </a:rPr>
            <a:t>NO HAN  TERMINADO LA SECUNDARIA  </a:t>
          </a:r>
        </a:p>
        <a:p>
          <a:r>
            <a:rPr lang="es-CO" sz="1000" b="1" dirty="0" smtClean="0">
              <a:solidFill>
                <a:schemeClr val="tx1"/>
              </a:solidFill>
            </a:rPr>
            <a:t>3.809.000 (44.3%)</a:t>
          </a:r>
          <a:endParaRPr lang="es-CO" sz="1000" b="1" dirty="0">
            <a:solidFill>
              <a:schemeClr val="tx1"/>
            </a:solidFill>
          </a:endParaRPr>
        </a:p>
      </dgm:t>
    </dgm:pt>
    <dgm:pt modelId="{953AC778-B5A3-4025-B29E-F35A77593DB3}" type="parTrans" cxnId="{B820CE28-0A82-4D6E-97D2-5194F40B97C3}">
      <dgm:prSet/>
      <dgm:spPr/>
      <dgm:t>
        <a:bodyPr/>
        <a:lstStyle/>
        <a:p>
          <a:endParaRPr lang="es-CO"/>
        </a:p>
      </dgm:t>
    </dgm:pt>
    <dgm:pt modelId="{01874A3F-3E1F-4C4E-A02C-52CB9EB5F1CE}" type="sibTrans" cxnId="{B820CE28-0A82-4D6E-97D2-5194F40B97C3}">
      <dgm:prSet/>
      <dgm:spPr/>
      <dgm:t>
        <a:bodyPr/>
        <a:lstStyle/>
        <a:p>
          <a:endParaRPr lang="es-CO"/>
        </a:p>
      </dgm:t>
    </dgm:pt>
    <dgm:pt modelId="{EB2C1BB7-90EE-4608-964E-DC4796F8ECB0}">
      <dgm:prSet custT="1"/>
      <dgm:spPr/>
      <dgm:t>
        <a:bodyPr/>
        <a:lstStyle/>
        <a:p>
          <a:r>
            <a:rPr lang="es-CO" sz="1100" b="1" dirty="0" smtClean="0">
              <a:solidFill>
                <a:schemeClr val="tx1"/>
              </a:solidFill>
            </a:rPr>
            <a:t>T y T</a:t>
          </a:r>
        </a:p>
        <a:p>
          <a:r>
            <a:rPr lang="es-CO" sz="1100" b="1" dirty="0" smtClean="0">
              <a:solidFill>
                <a:schemeClr val="tx1"/>
              </a:solidFill>
            </a:rPr>
            <a:t>614.000</a:t>
          </a:r>
          <a:endParaRPr lang="es-CO" sz="1100" b="1" dirty="0">
            <a:solidFill>
              <a:schemeClr val="tx1"/>
            </a:solidFill>
          </a:endParaRPr>
        </a:p>
      </dgm:t>
    </dgm:pt>
    <dgm:pt modelId="{A13BEEDE-AE23-47F1-B088-3FBA09518181}" type="parTrans" cxnId="{3369D223-F411-4857-8A39-AFD5BE5951C6}">
      <dgm:prSet/>
      <dgm:spPr/>
      <dgm:t>
        <a:bodyPr/>
        <a:lstStyle/>
        <a:p>
          <a:endParaRPr lang="es-CO"/>
        </a:p>
      </dgm:t>
    </dgm:pt>
    <dgm:pt modelId="{2B4A8FB7-8A70-4C43-AD86-461DCD4A202F}" type="sibTrans" cxnId="{3369D223-F411-4857-8A39-AFD5BE5951C6}">
      <dgm:prSet/>
      <dgm:spPr/>
      <dgm:t>
        <a:bodyPr/>
        <a:lstStyle/>
        <a:p>
          <a:endParaRPr lang="es-CO"/>
        </a:p>
      </dgm:t>
    </dgm:pt>
    <dgm:pt modelId="{F80142E7-14C5-45CF-8E21-2FBA5FDF9234}">
      <dgm:prSet custT="1"/>
      <dgm:spPr/>
      <dgm:t>
        <a:bodyPr/>
        <a:lstStyle/>
        <a:p>
          <a:r>
            <a:rPr lang="es-CO" sz="1050" b="1" dirty="0" smtClean="0">
              <a:solidFill>
                <a:schemeClr val="tx1"/>
              </a:solidFill>
            </a:rPr>
            <a:t>UNIVERSITARIO</a:t>
          </a:r>
        </a:p>
        <a:p>
          <a:r>
            <a:rPr lang="es-CO" sz="1050" b="1" dirty="0" smtClean="0">
              <a:solidFill>
                <a:schemeClr val="tx1"/>
              </a:solidFill>
            </a:rPr>
            <a:t>1.340.000</a:t>
          </a:r>
          <a:endParaRPr lang="es-CO" sz="1050" b="1" dirty="0">
            <a:solidFill>
              <a:schemeClr val="tx1"/>
            </a:solidFill>
          </a:endParaRPr>
        </a:p>
      </dgm:t>
    </dgm:pt>
    <dgm:pt modelId="{CC69C4C4-C0E1-4C27-85B7-80944FB27EBD}" type="parTrans" cxnId="{B2D33C0C-2826-4EC3-8006-5C4D171CBC49}">
      <dgm:prSet/>
      <dgm:spPr/>
      <dgm:t>
        <a:bodyPr/>
        <a:lstStyle/>
        <a:p>
          <a:endParaRPr lang="es-CO"/>
        </a:p>
      </dgm:t>
    </dgm:pt>
    <dgm:pt modelId="{59C1B4B0-9DDF-4850-A3B6-7A9698B30D0C}" type="sibTrans" cxnId="{B2D33C0C-2826-4EC3-8006-5C4D171CBC49}">
      <dgm:prSet/>
      <dgm:spPr/>
      <dgm:t>
        <a:bodyPr/>
        <a:lstStyle/>
        <a:p>
          <a:endParaRPr lang="es-CO"/>
        </a:p>
      </dgm:t>
    </dgm:pt>
    <dgm:pt modelId="{8407CBC5-C4AF-4810-88A1-5E7A91B078CF}">
      <dgm:prSet custT="1"/>
      <dgm:spPr/>
      <dgm:t>
        <a:bodyPr/>
        <a:lstStyle/>
        <a:p>
          <a:r>
            <a:rPr lang="es-CO" sz="1000" b="1" dirty="0" smtClean="0">
              <a:solidFill>
                <a:schemeClr val="tx1"/>
              </a:solidFill>
            </a:rPr>
            <a:t>MATRICULADOS  ETDH  y SENA 1.110.000</a:t>
          </a:r>
          <a:endParaRPr lang="es-CO" sz="1000" dirty="0">
            <a:solidFill>
              <a:schemeClr val="tx1"/>
            </a:solidFill>
          </a:endParaRPr>
        </a:p>
      </dgm:t>
    </dgm:pt>
    <dgm:pt modelId="{8410CA9F-CB2F-4E1E-B85A-39CC1774C4D8}" type="parTrans" cxnId="{87AAD570-2E28-4E42-98B3-2873D2547FBF}">
      <dgm:prSet/>
      <dgm:spPr/>
      <dgm:t>
        <a:bodyPr/>
        <a:lstStyle/>
        <a:p>
          <a:endParaRPr lang="es-CO"/>
        </a:p>
      </dgm:t>
    </dgm:pt>
    <dgm:pt modelId="{8ADF1CDD-4C3D-4312-A449-7DC60937ABCF}" type="sibTrans" cxnId="{87AAD570-2E28-4E42-98B3-2873D2547FBF}">
      <dgm:prSet/>
      <dgm:spPr/>
      <dgm:t>
        <a:bodyPr/>
        <a:lstStyle/>
        <a:p>
          <a:endParaRPr lang="es-CO"/>
        </a:p>
      </dgm:t>
    </dgm:pt>
    <dgm:pt modelId="{B32859F7-22CA-411D-BBBC-3C855EA720A7}">
      <dgm:prSet custT="1"/>
      <dgm:spPr>
        <a:solidFill>
          <a:schemeClr val="accent2">
            <a:lumMod val="60000"/>
            <a:lumOff val="40000"/>
          </a:schemeClr>
        </a:solidFill>
        <a:ln>
          <a:solidFill>
            <a:schemeClr val="accent2">
              <a:lumMod val="60000"/>
              <a:lumOff val="40000"/>
            </a:schemeClr>
          </a:solidFill>
        </a:ln>
      </dgm:spPr>
      <dgm:t>
        <a:bodyPr/>
        <a:lstStyle/>
        <a:p>
          <a:r>
            <a:rPr lang="es-CO" sz="1000" b="1" dirty="0" smtClean="0">
              <a:solidFill>
                <a:schemeClr val="tx1"/>
              </a:solidFill>
            </a:rPr>
            <a:t>NO VINCULADOS  A LA EDUCACIÓN POST SECUNDARIA </a:t>
          </a:r>
        </a:p>
        <a:p>
          <a:r>
            <a:rPr lang="es-CO" sz="1000" b="1" dirty="0" smtClean="0">
              <a:solidFill>
                <a:schemeClr val="tx1"/>
              </a:solidFill>
            </a:rPr>
            <a:t>1.730.000 (36,1%)</a:t>
          </a:r>
          <a:endParaRPr lang="es-CO" sz="1000" b="1" dirty="0">
            <a:solidFill>
              <a:schemeClr val="tx1"/>
            </a:solidFill>
          </a:endParaRPr>
        </a:p>
      </dgm:t>
    </dgm:pt>
    <dgm:pt modelId="{BE560A7F-786C-4981-8E81-BE9B917BF972}" type="sibTrans" cxnId="{A5E00835-6AC1-44ED-8B01-364D63727973}">
      <dgm:prSet/>
      <dgm:spPr/>
      <dgm:t>
        <a:bodyPr/>
        <a:lstStyle/>
        <a:p>
          <a:endParaRPr lang="es-CO"/>
        </a:p>
      </dgm:t>
    </dgm:pt>
    <dgm:pt modelId="{4E7F2182-6136-4F02-8073-5A76366C424D}" type="parTrans" cxnId="{A5E00835-6AC1-44ED-8B01-364D63727973}">
      <dgm:prSet/>
      <dgm:spPr/>
      <dgm:t>
        <a:bodyPr/>
        <a:lstStyle/>
        <a:p>
          <a:endParaRPr lang="es-CO"/>
        </a:p>
      </dgm:t>
    </dgm:pt>
    <dgm:pt modelId="{BD043EA1-8A98-40F0-9B48-5B9CF2B5FC52}">
      <dgm:prSet custT="1"/>
      <dgm:spPr/>
      <dgm:t>
        <a:bodyPr/>
        <a:lstStyle/>
        <a:p>
          <a:endParaRPr lang="es-CO" sz="1100" b="1" dirty="0" smtClean="0">
            <a:solidFill>
              <a:schemeClr val="tx1"/>
            </a:solidFill>
          </a:endParaRPr>
        </a:p>
        <a:p>
          <a:endParaRPr lang="es-CO" sz="1100" b="1" dirty="0" smtClean="0">
            <a:solidFill>
              <a:schemeClr val="tx1"/>
            </a:solidFill>
          </a:endParaRPr>
        </a:p>
        <a:p>
          <a:r>
            <a:rPr lang="es-CO" sz="1000" b="1" dirty="0" smtClean="0">
              <a:solidFill>
                <a:schemeClr val="tx1"/>
              </a:solidFill>
            </a:rPr>
            <a:t>MATRICULADOS  ES</a:t>
          </a:r>
        </a:p>
        <a:p>
          <a:r>
            <a:rPr lang="es-CO" sz="1000" b="1" dirty="0" smtClean="0">
              <a:solidFill>
                <a:schemeClr val="tx1"/>
              </a:solidFill>
            </a:rPr>
            <a:t>1.954.000</a:t>
          </a:r>
        </a:p>
        <a:p>
          <a:endParaRPr lang="es-CO" sz="1100" b="1" dirty="0" smtClean="0">
            <a:solidFill>
              <a:schemeClr val="tx1"/>
            </a:solidFill>
          </a:endParaRPr>
        </a:p>
        <a:p>
          <a:endParaRPr lang="es-CO" sz="1100" b="1" dirty="0">
            <a:solidFill>
              <a:schemeClr val="tx1"/>
            </a:solidFill>
          </a:endParaRPr>
        </a:p>
      </dgm:t>
    </dgm:pt>
    <dgm:pt modelId="{E1B77DB7-5F9C-41CD-8C8C-4F0EACED1B31}" type="sibTrans" cxnId="{4CADAECD-1DF9-42ED-9659-5C9BD9377D38}">
      <dgm:prSet/>
      <dgm:spPr/>
      <dgm:t>
        <a:bodyPr/>
        <a:lstStyle/>
        <a:p>
          <a:endParaRPr lang="es-CO"/>
        </a:p>
      </dgm:t>
    </dgm:pt>
    <dgm:pt modelId="{A9E27993-C519-4AF9-8C32-BAB43F9CABB9}" type="parTrans" cxnId="{4CADAECD-1DF9-42ED-9659-5C9BD9377D38}">
      <dgm:prSet/>
      <dgm:spPr/>
      <dgm:t>
        <a:bodyPr/>
        <a:lstStyle/>
        <a:p>
          <a:endParaRPr lang="es-CO"/>
        </a:p>
      </dgm:t>
    </dgm:pt>
    <dgm:pt modelId="{7AC3EE17-3FC9-47DD-8055-3152ABB9E2A6}" type="pres">
      <dgm:prSet presAssocID="{01FBBEB9-EF89-4145-8D42-FCBD20941E4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A4075F5A-78A9-4551-B077-65D048A3E437}" type="pres">
      <dgm:prSet presAssocID="{C5382F2C-03F2-44AA-899F-10A436D334F8}" presName="hierRoot1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4E20120E-1CE1-4603-B995-B13CE1CE4D55}" type="pres">
      <dgm:prSet presAssocID="{C5382F2C-03F2-44AA-899F-10A436D334F8}" presName="rootComposite1" presStyleCnt="0"/>
      <dgm:spPr/>
      <dgm:t>
        <a:bodyPr/>
        <a:lstStyle/>
        <a:p>
          <a:endParaRPr lang="es-CO"/>
        </a:p>
      </dgm:t>
    </dgm:pt>
    <dgm:pt modelId="{1A2613BE-0AD7-4E33-9A0D-36D9698DACD0}" type="pres">
      <dgm:prSet presAssocID="{C5382F2C-03F2-44AA-899F-10A436D334F8}" presName="rootText1" presStyleLbl="node0" presStyleIdx="0" presStyleCnt="1" custScaleX="297723" custScaleY="272376" custLinFactNeighborX="5249" custLinFactNeighborY="-115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762E259-01C4-46D1-943A-0470FC5D8A60}" type="pres">
      <dgm:prSet presAssocID="{C5382F2C-03F2-44AA-899F-10A436D334F8}" presName="rootConnector1" presStyleLbl="node1" presStyleIdx="0" presStyleCnt="0"/>
      <dgm:spPr/>
      <dgm:t>
        <a:bodyPr/>
        <a:lstStyle/>
        <a:p>
          <a:endParaRPr lang="es-CO"/>
        </a:p>
      </dgm:t>
    </dgm:pt>
    <dgm:pt modelId="{733202B1-97F3-493E-AEE5-7FD1F9BC2722}" type="pres">
      <dgm:prSet presAssocID="{C5382F2C-03F2-44AA-899F-10A436D334F8}" presName="hierChild2" presStyleCnt="0"/>
      <dgm:spPr/>
      <dgm:t>
        <a:bodyPr/>
        <a:lstStyle/>
        <a:p>
          <a:endParaRPr lang="es-CO"/>
        </a:p>
      </dgm:t>
    </dgm:pt>
    <dgm:pt modelId="{9215A381-1F17-4F17-8717-7BFEDD1BB911}" type="pres">
      <dgm:prSet presAssocID="{87724410-4FFA-4014-8B90-92B0BCF273DC}" presName="Name37" presStyleLbl="parChTrans1D2" presStyleIdx="0" presStyleCnt="4"/>
      <dgm:spPr/>
      <dgm:t>
        <a:bodyPr/>
        <a:lstStyle/>
        <a:p>
          <a:endParaRPr lang="es-CO"/>
        </a:p>
      </dgm:t>
    </dgm:pt>
    <dgm:pt modelId="{E9FB3220-CE59-4AB5-95D6-830A92488411}" type="pres">
      <dgm:prSet presAssocID="{7C6B1117-F080-4005-9C07-05E28DBD9932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03F6B954-E7BC-4D23-9E0E-E456A4F6304C}" type="pres">
      <dgm:prSet presAssocID="{7C6B1117-F080-4005-9C07-05E28DBD9932}" presName="rootComposite" presStyleCnt="0"/>
      <dgm:spPr/>
      <dgm:t>
        <a:bodyPr/>
        <a:lstStyle/>
        <a:p>
          <a:endParaRPr lang="es-CO"/>
        </a:p>
      </dgm:t>
    </dgm:pt>
    <dgm:pt modelId="{2249D6E1-8FDF-4200-9C5F-B066F703A7C4}" type="pres">
      <dgm:prSet presAssocID="{7C6B1117-F080-4005-9C07-05E28DBD9932}" presName="rootText" presStyleLbl="node2" presStyleIdx="0" presStyleCnt="3" custScaleX="322010" custScaleY="252174" custLinFactNeighborX="-3248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71A2E280-CB38-464C-B080-3A1D09FFA03A}" type="pres">
      <dgm:prSet presAssocID="{7C6B1117-F080-4005-9C07-05E28DBD9932}" presName="rootConnector" presStyleLbl="node2" presStyleIdx="0" presStyleCnt="3"/>
      <dgm:spPr/>
      <dgm:t>
        <a:bodyPr/>
        <a:lstStyle/>
        <a:p>
          <a:endParaRPr lang="es-CO"/>
        </a:p>
      </dgm:t>
    </dgm:pt>
    <dgm:pt modelId="{53B1EF4E-BE51-47BB-8D03-92204984CDF0}" type="pres">
      <dgm:prSet presAssocID="{7C6B1117-F080-4005-9C07-05E28DBD9932}" presName="hierChild4" presStyleCnt="0"/>
      <dgm:spPr/>
      <dgm:t>
        <a:bodyPr/>
        <a:lstStyle/>
        <a:p>
          <a:endParaRPr lang="es-CO"/>
        </a:p>
      </dgm:t>
    </dgm:pt>
    <dgm:pt modelId="{8AE786D9-2BCA-45A4-A508-7F1828E381C0}" type="pres">
      <dgm:prSet presAssocID="{8410CA9F-CB2F-4E1E-B85A-39CC1774C4D8}" presName="Name37" presStyleLbl="parChTrans1D3" presStyleIdx="0" presStyleCnt="2"/>
      <dgm:spPr/>
      <dgm:t>
        <a:bodyPr/>
        <a:lstStyle/>
        <a:p>
          <a:endParaRPr lang="es-CO"/>
        </a:p>
      </dgm:t>
    </dgm:pt>
    <dgm:pt modelId="{D3F91A78-4731-4CB2-AE02-B3325A1A60DC}" type="pres">
      <dgm:prSet presAssocID="{8407CBC5-C4AF-4810-88A1-5E7A91B078CF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3923A40E-A316-4C13-BFD4-4F032DCDC298}" type="pres">
      <dgm:prSet presAssocID="{8407CBC5-C4AF-4810-88A1-5E7A91B078CF}" presName="rootComposite" presStyleCnt="0"/>
      <dgm:spPr/>
      <dgm:t>
        <a:bodyPr/>
        <a:lstStyle/>
        <a:p>
          <a:endParaRPr lang="es-CO"/>
        </a:p>
      </dgm:t>
    </dgm:pt>
    <dgm:pt modelId="{3E9F280A-D91D-4347-91F0-008AD8F9B36E}" type="pres">
      <dgm:prSet presAssocID="{8407CBC5-C4AF-4810-88A1-5E7A91B078CF}" presName="rootText" presStyleLbl="node3" presStyleIdx="0" presStyleCnt="2" custScaleX="217216" custScaleY="210574" custLinFactNeighborX="-43852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9A628055-E0AE-4735-A048-9CD6A5A08049}" type="pres">
      <dgm:prSet presAssocID="{8407CBC5-C4AF-4810-88A1-5E7A91B078CF}" presName="rootConnector" presStyleLbl="node3" presStyleIdx="0" presStyleCnt="2"/>
      <dgm:spPr/>
      <dgm:t>
        <a:bodyPr/>
        <a:lstStyle/>
        <a:p>
          <a:endParaRPr lang="es-CO"/>
        </a:p>
      </dgm:t>
    </dgm:pt>
    <dgm:pt modelId="{02C05EE7-55B7-44AC-A368-C56613029C33}" type="pres">
      <dgm:prSet presAssocID="{8407CBC5-C4AF-4810-88A1-5E7A91B078CF}" presName="hierChild4" presStyleCnt="0"/>
      <dgm:spPr/>
      <dgm:t>
        <a:bodyPr/>
        <a:lstStyle/>
        <a:p>
          <a:endParaRPr lang="es-CO"/>
        </a:p>
      </dgm:t>
    </dgm:pt>
    <dgm:pt modelId="{7F0C4548-9DB4-4946-9C78-956FB6D13598}" type="pres">
      <dgm:prSet presAssocID="{8407CBC5-C4AF-4810-88A1-5E7A91B078CF}" presName="hierChild5" presStyleCnt="0"/>
      <dgm:spPr/>
      <dgm:t>
        <a:bodyPr/>
        <a:lstStyle/>
        <a:p>
          <a:endParaRPr lang="es-CO"/>
        </a:p>
      </dgm:t>
    </dgm:pt>
    <dgm:pt modelId="{0747BF39-E96B-4F26-996E-75E718E1100B}" type="pres">
      <dgm:prSet presAssocID="{A9E27993-C519-4AF9-8C32-BAB43F9CABB9}" presName="Name37" presStyleLbl="parChTrans1D3" presStyleIdx="1" presStyleCnt="2"/>
      <dgm:spPr/>
      <dgm:t>
        <a:bodyPr/>
        <a:lstStyle/>
        <a:p>
          <a:endParaRPr lang="es-CO"/>
        </a:p>
      </dgm:t>
    </dgm:pt>
    <dgm:pt modelId="{F574F71B-A8CE-41A3-A764-0D5463B69652}" type="pres">
      <dgm:prSet presAssocID="{BD043EA1-8A98-40F0-9B48-5B9CF2B5FC52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42066408-29F0-4DAE-B15D-7150F15BC7C6}" type="pres">
      <dgm:prSet presAssocID="{BD043EA1-8A98-40F0-9B48-5B9CF2B5FC52}" presName="rootComposite" presStyleCnt="0"/>
      <dgm:spPr/>
      <dgm:t>
        <a:bodyPr/>
        <a:lstStyle/>
        <a:p>
          <a:endParaRPr lang="es-CO"/>
        </a:p>
      </dgm:t>
    </dgm:pt>
    <dgm:pt modelId="{991ABA27-EC68-47A4-87F1-5F60F712FF2B}" type="pres">
      <dgm:prSet presAssocID="{BD043EA1-8A98-40F0-9B48-5B9CF2B5FC52}" presName="rootText" presStyleLbl="node3" presStyleIdx="1" presStyleCnt="2" custScaleX="212365" custScaleY="235054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00BBC198-B120-4A42-82F3-A791727F5DF1}" type="pres">
      <dgm:prSet presAssocID="{BD043EA1-8A98-40F0-9B48-5B9CF2B5FC52}" presName="rootConnector" presStyleLbl="node3" presStyleIdx="1" presStyleCnt="2"/>
      <dgm:spPr/>
      <dgm:t>
        <a:bodyPr/>
        <a:lstStyle/>
        <a:p>
          <a:endParaRPr lang="es-CO"/>
        </a:p>
      </dgm:t>
    </dgm:pt>
    <dgm:pt modelId="{D3457ABD-B713-4C0E-AB54-6C6AA9908DD0}" type="pres">
      <dgm:prSet presAssocID="{BD043EA1-8A98-40F0-9B48-5B9CF2B5FC52}" presName="hierChild4" presStyleCnt="0"/>
      <dgm:spPr/>
      <dgm:t>
        <a:bodyPr/>
        <a:lstStyle/>
        <a:p>
          <a:endParaRPr lang="es-CO"/>
        </a:p>
      </dgm:t>
    </dgm:pt>
    <dgm:pt modelId="{35252B04-875E-42D4-93E4-E6546089B7EA}" type="pres">
      <dgm:prSet presAssocID="{A13BEEDE-AE23-47F1-B088-3FBA09518181}" presName="Name37" presStyleLbl="parChTrans1D4" presStyleIdx="0" presStyleCnt="2"/>
      <dgm:spPr/>
      <dgm:t>
        <a:bodyPr/>
        <a:lstStyle/>
        <a:p>
          <a:endParaRPr lang="es-CO"/>
        </a:p>
      </dgm:t>
    </dgm:pt>
    <dgm:pt modelId="{DB61E1AA-78EA-498C-9FC1-7876A1FE5F80}" type="pres">
      <dgm:prSet presAssocID="{EB2C1BB7-90EE-4608-964E-DC4796F8ECB0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FDE9018C-6BEF-4C36-8633-1F38CFC8EE0F}" type="pres">
      <dgm:prSet presAssocID="{EB2C1BB7-90EE-4608-964E-DC4796F8ECB0}" presName="rootComposite" presStyleCnt="0"/>
      <dgm:spPr/>
      <dgm:t>
        <a:bodyPr/>
        <a:lstStyle/>
        <a:p>
          <a:endParaRPr lang="es-CO"/>
        </a:p>
      </dgm:t>
    </dgm:pt>
    <dgm:pt modelId="{3853EB75-DF8F-451B-A5A0-A0817C7CA44A}" type="pres">
      <dgm:prSet presAssocID="{EB2C1BB7-90EE-4608-964E-DC4796F8ECB0}" presName="rootText" presStyleLbl="node4" presStyleIdx="0" presStyleCnt="2" custScaleX="157171" custScaleY="15729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8AD733F6-3998-4CFD-AD0C-8A72FF660FBB}" type="pres">
      <dgm:prSet presAssocID="{EB2C1BB7-90EE-4608-964E-DC4796F8ECB0}" presName="rootConnector" presStyleLbl="node4" presStyleIdx="0" presStyleCnt="2"/>
      <dgm:spPr/>
      <dgm:t>
        <a:bodyPr/>
        <a:lstStyle/>
        <a:p>
          <a:endParaRPr lang="es-CO"/>
        </a:p>
      </dgm:t>
    </dgm:pt>
    <dgm:pt modelId="{DB924262-31E0-4212-8A03-F012E048F065}" type="pres">
      <dgm:prSet presAssocID="{EB2C1BB7-90EE-4608-964E-DC4796F8ECB0}" presName="hierChild4" presStyleCnt="0"/>
      <dgm:spPr/>
      <dgm:t>
        <a:bodyPr/>
        <a:lstStyle/>
        <a:p>
          <a:endParaRPr lang="es-CO"/>
        </a:p>
      </dgm:t>
    </dgm:pt>
    <dgm:pt modelId="{F8FE7DDE-E712-4168-B1DF-C8521DE13195}" type="pres">
      <dgm:prSet presAssocID="{EB2C1BB7-90EE-4608-964E-DC4796F8ECB0}" presName="hierChild5" presStyleCnt="0"/>
      <dgm:spPr/>
      <dgm:t>
        <a:bodyPr/>
        <a:lstStyle/>
        <a:p>
          <a:endParaRPr lang="es-CO"/>
        </a:p>
      </dgm:t>
    </dgm:pt>
    <dgm:pt modelId="{65100E7F-2D93-4702-A8A6-A96D3C17EB8A}" type="pres">
      <dgm:prSet presAssocID="{CC69C4C4-C0E1-4C27-85B7-80944FB27EBD}" presName="Name37" presStyleLbl="parChTrans1D4" presStyleIdx="1" presStyleCnt="2"/>
      <dgm:spPr/>
      <dgm:t>
        <a:bodyPr/>
        <a:lstStyle/>
        <a:p>
          <a:endParaRPr lang="es-CO"/>
        </a:p>
      </dgm:t>
    </dgm:pt>
    <dgm:pt modelId="{B7F3B81D-49DE-47AB-ACAE-5762C442E02A}" type="pres">
      <dgm:prSet presAssocID="{F80142E7-14C5-45CF-8E21-2FBA5FDF9234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542C2A8B-0170-4E70-AB99-58F3943429ED}" type="pres">
      <dgm:prSet presAssocID="{F80142E7-14C5-45CF-8E21-2FBA5FDF9234}" presName="rootComposite" presStyleCnt="0"/>
      <dgm:spPr/>
      <dgm:t>
        <a:bodyPr/>
        <a:lstStyle/>
        <a:p>
          <a:endParaRPr lang="es-CO"/>
        </a:p>
      </dgm:t>
    </dgm:pt>
    <dgm:pt modelId="{3BABE346-BE2D-48A4-8807-8D7AC6B172DB}" type="pres">
      <dgm:prSet presAssocID="{F80142E7-14C5-45CF-8E21-2FBA5FDF9234}" presName="rootText" presStyleLbl="node4" presStyleIdx="1" presStyleCnt="2" custScaleX="180891" custScaleY="124584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4B7A34C6-2F20-45D4-88B8-DE37375C29EB}" type="pres">
      <dgm:prSet presAssocID="{F80142E7-14C5-45CF-8E21-2FBA5FDF9234}" presName="rootConnector" presStyleLbl="node4" presStyleIdx="1" presStyleCnt="2"/>
      <dgm:spPr/>
      <dgm:t>
        <a:bodyPr/>
        <a:lstStyle/>
        <a:p>
          <a:endParaRPr lang="es-CO"/>
        </a:p>
      </dgm:t>
    </dgm:pt>
    <dgm:pt modelId="{FD9AD94C-52BF-4786-B6BD-DDCF746C0626}" type="pres">
      <dgm:prSet presAssocID="{F80142E7-14C5-45CF-8E21-2FBA5FDF9234}" presName="hierChild4" presStyleCnt="0"/>
      <dgm:spPr/>
      <dgm:t>
        <a:bodyPr/>
        <a:lstStyle/>
        <a:p>
          <a:endParaRPr lang="es-CO"/>
        </a:p>
      </dgm:t>
    </dgm:pt>
    <dgm:pt modelId="{B021A204-A7EB-4AFA-A488-485906D86FC9}" type="pres">
      <dgm:prSet presAssocID="{F80142E7-14C5-45CF-8E21-2FBA5FDF9234}" presName="hierChild5" presStyleCnt="0"/>
      <dgm:spPr/>
      <dgm:t>
        <a:bodyPr/>
        <a:lstStyle/>
        <a:p>
          <a:endParaRPr lang="es-CO"/>
        </a:p>
      </dgm:t>
    </dgm:pt>
    <dgm:pt modelId="{5F23F4BA-ACAB-43F0-85FA-98EBCCC291C9}" type="pres">
      <dgm:prSet presAssocID="{BD043EA1-8A98-40F0-9B48-5B9CF2B5FC52}" presName="hierChild5" presStyleCnt="0"/>
      <dgm:spPr/>
      <dgm:t>
        <a:bodyPr/>
        <a:lstStyle/>
        <a:p>
          <a:endParaRPr lang="es-CO"/>
        </a:p>
      </dgm:t>
    </dgm:pt>
    <dgm:pt modelId="{FBC10678-2454-421E-B60D-C4B8C20F20FB}" type="pres">
      <dgm:prSet presAssocID="{7C6B1117-F080-4005-9C07-05E28DBD9932}" presName="hierChild5" presStyleCnt="0"/>
      <dgm:spPr/>
      <dgm:t>
        <a:bodyPr/>
        <a:lstStyle/>
        <a:p>
          <a:endParaRPr lang="es-CO"/>
        </a:p>
      </dgm:t>
    </dgm:pt>
    <dgm:pt modelId="{3FE908E8-C3D2-4BA2-8786-FBAC0A967571}" type="pres">
      <dgm:prSet presAssocID="{4E7F2182-6136-4F02-8073-5A76366C424D}" presName="Name37" presStyleLbl="parChTrans1D2" presStyleIdx="1" presStyleCnt="4"/>
      <dgm:spPr/>
      <dgm:t>
        <a:bodyPr/>
        <a:lstStyle/>
        <a:p>
          <a:endParaRPr lang="es-CO"/>
        </a:p>
      </dgm:t>
    </dgm:pt>
    <dgm:pt modelId="{95E23757-83CD-4212-BCB4-4B02F793EFA7}" type="pres">
      <dgm:prSet presAssocID="{B32859F7-22CA-411D-BBBC-3C855EA720A7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EAED128B-0295-47A1-BF6C-15484F04F0C0}" type="pres">
      <dgm:prSet presAssocID="{B32859F7-22CA-411D-BBBC-3C855EA720A7}" presName="rootComposite" presStyleCnt="0"/>
      <dgm:spPr/>
      <dgm:t>
        <a:bodyPr/>
        <a:lstStyle/>
        <a:p>
          <a:endParaRPr lang="es-CO"/>
        </a:p>
      </dgm:t>
    </dgm:pt>
    <dgm:pt modelId="{A14AF71E-D272-4705-B616-0F28B352D5C9}" type="pres">
      <dgm:prSet presAssocID="{B32859F7-22CA-411D-BBBC-3C855EA720A7}" presName="rootText" presStyleLbl="node2" presStyleIdx="1" presStyleCnt="3" custScaleX="322010" custScaleY="225013" custLinFactNeighborX="-3248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42A6083-62D0-4783-A061-06FEB65B8A40}" type="pres">
      <dgm:prSet presAssocID="{B32859F7-22CA-411D-BBBC-3C855EA720A7}" presName="rootConnector" presStyleLbl="node2" presStyleIdx="1" presStyleCnt="3"/>
      <dgm:spPr/>
      <dgm:t>
        <a:bodyPr/>
        <a:lstStyle/>
        <a:p>
          <a:endParaRPr lang="es-CO"/>
        </a:p>
      </dgm:t>
    </dgm:pt>
    <dgm:pt modelId="{0A5EA5F6-27F8-4384-92CF-7195F06B22E0}" type="pres">
      <dgm:prSet presAssocID="{B32859F7-22CA-411D-BBBC-3C855EA720A7}" presName="hierChild4" presStyleCnt="0"/>
      <dgm:spPr/>
      <dgm:t>
        <a:bodyPr/>
        <a:lstStyle/>
        <a:p>
          <a:endParaRPr lang="es-CO"/>
        </a:p>
      </dgm:t>
    </dgm:pt>
    <dgm:pt modelId="{A1759972-4120-4230-8169-8908443737B0}" type="pres">
      <dgm:prSet presAssocID="{B32859F7-22CA-411D-BBBC-3C855EA720A7}" presName="hierChild5" presStyleCnt="0"/>
      <dgm:spPr/>
      <dgm:t>
        <a:bodyPr/>
        <a:lstStyle/>
        <a:p>
          <a:endParaRPr lang="es-CO"/>
        </a:p>
      </dgm:t>
    </dgm:pt>
    <dgm:pt modelId="{C54C1698-4808-47DA-A837-7D0CEA5B37B5}" type="pres">
      <dgm:prSet presAssocID="{953AC778-B5A3-4025-B29E-F35A77593DB3}" presName="Name37" presStyleLbl="parChTrans1D2" presStyleIdx="2" presStyleCnt="4"/>
      <dgm:spPr/>
      <dgm:t>
        <a:bodyPr/>
        <a:lstStyle/>
        <a:p>
          <a:endParaRPr lang="es-CO"/>
        </a:p>
      </dgm:t>
    </dgm:pt>
    <dgm:pt modelId="{80CFCF93-C228-48A3-B33E-1993BB61FFE3}" type="pres">
      <dgm:prSet presAssocID="{3549F1CA-A974-48C0-9384-0E59DF4E5A48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C823FF97-0429-4D80-9E34-0D5468639E5D}" type="pres">
      <dgm:prSet presAssocID="{3549F1CA-A974-48C0-9384-0E59DF4E5A48}" presName="rootComposite" presStyleCnt="0"/>
      <dgm:spPr/>
      <dgm:t>
        <a:bodyPr/>
        <a:lstStyle/>
        <a:p>
          <a:endParaRPr lang="es-CO"/>
        </a:p>
      </dgm:t>
    </dgm:pt>
    <dgm:pt modelId="{20C32DAF-0002-495B-A671-6EB3FFD1E13A}" type="pres">
      <dgm:prSet presAssocID="{3549F1CA-A974-48C0-9384-0E59DF4E5A48}" presName="rootText" presStyleLbl="node2" presStyleIdx="2" presStyleCnt="3" custScaleX="291468" custScaleY="208862" custLinFactX="-78426" custLinFactY="-100000" custLinFactNeighborX="-100000" custLinFactNeighborY="-158084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53678F26-D131-424D-AF71-E0ED89D2BF6C}" type="pres">
      <dgm:prSet presAssocID="{3549F1CA-A974-48C0-9384-0E59DF4E5A48}" presName="rootConnector" presStyleLbl="node2" presStyleIdx="2" presStyleCnt="3"/>
      <dgm:spPr/>
      <dgm:t>
        <a:bodyPr/>
        <a:lstStyle/>
        <a:p>
          <a:endParaRPr lang="es-CO"/>
        </a:p>
      </dgm:t>
    </dgm:pt>
    <dgm:pt modelId="{760793AE-A4CE-4C35-934D-1C7DDFA1FBE5}" type="pres">
      <dgm:prSet presAssocID="{3549F1CA-A974-48C0-9384-0E59DF4E5A48}" presName="hierChild4" presStyleCnt="0"/>
      <dgm:spPr/>
      <dgm:t>
        <a:bodyPr/>
        <a:lstStyle/>
        <a:p>
          <a:endParaRPr lang="es-CO"/>
        </a:p>
      </dgm:t>
    </dgm:pt>
    <dgm:pt modelId="{1C4C7044-7884-4DDC-B50E-D1A89AEAC7CB}" type="pres">
      <dgm:prSet presAssocID="{3549F1CA-A974-48C0-9384-0E59DF4E5A48}" presName="hierChild5" presStyleCnt="0"/>
      <dgm:spPr/>
      <dgm:t>
        <a:bodyPr/>
        <a:lstStyle/>
        <a:p>
          <a:endParaRPr lang="es-CO"/>
        </a:p>
      </dgm:t>
    </dgm:pt>
    <dgm:pt modelId="{90A18F18-B0F9-4259-BBBE-9007A4C16FE4}" type="pres">
      <dgm:prSet presAssocID="{C5382F2C-03F2-44AA-899F-10A436D334F8}" presName="hierChild3" presStyleCnt="0"/>
      <dgm:spPr/>
      <dgm:t>
        <a:bodyPr/>
        <a:lstStyle/>
        <a:p>
          <a:endParaRPr lang="es-CO"/>
        </a:p>
      </dgm:t>
    </dgm:pt>
    <dgm:pt modelId="{84E4863F-4772-4276-B0EA-635687C425DA}" type="pres">
      <dgm:prSet presAssocID="{A2C124F6-F57E-4390-A47C-9E22BEB59A49}" presName="Name111" presStyleLbl="parChTrans1D2" presStyleIdx="3" presStyleCnt="4"/>
      <dgm:spPr/>
      <dgm:t>
        <a:bodyPr/>
        <a:lstStyle/>
        <a:p>
          <a:endParaRPr lang="es-CO"/>
        </a:p>
      </dgm:t>
    </dgm:pt>
    <dgm:pt modelId="{0C29BA9A-B0F2-4EDD-B616-53B4798044CB}" type="pres">
      <dgm:prSet presAssocID="{B311A8E1-77ED-4E9A-8E14-467B811AF557}" presName="hierRoot3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B0F994CA-E762-461B-A0F5-3783AB4BAFD9}" type="pres">
      <dgm:prSet presAssocID="{B311A8E1-77ED-4E9A-8E14-467B811AF557}" presName="rootComposite3" presStyleCnt="0"/>
      <dgm:spPr/>
      <dgm:t>
        <a:bodyPr/>
        <a:lstStyle/>
        <a:p>
          <a:endParaRPr lang="es-CO"/>
        </a:p>
      </dgm:t>
    </dgm:pt>
    <dgm:pt modelId="{12B34B2C-7453-4F8C-B947-43D579B86E2D}" type="pres">
      <dgm:prSet presAssocID="{B311A8E1-77ED-4E9A-8E14-467B811AF557}" presName="rootText3" presStyleLbl="asst1" presStyleIdx="0" presStyleCnt="1" custScaleX="238103" custScaleY="26237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F5D34169-5ECC-4BA8-AE54-3F02D0E910FD}" type="pres">
      <dgm:prSet presAssocID="{B311A8E1-77ED-4E9A-8E14-467B811AF557}" presName="rootConnector3" presStyleLbl="asst1" presStyleIdx="0" presStyleCnt="1"/>
      <dgm:spPr/>
      <dgm:t>
        <a:bodyPr/>
        <a:lstStyle/>
        <a:p>
          <a:endParaRPr lang="es-CO"/>
        </a:p>
      </dgm:t>
    </dgm:pt>
    <dgm:pt modelId="{94237583-E230-4C2E-ACF5-B063414A23F7}" type="pres">
      <dgm:prSet presAssocID="{B311A8E1-77ED-4E9A-8E14-467B811AF557}" presName="hierChild6" presStyleCnt="0"/>
      <dgm:spPr/>
      <dgm:t>
        <a:bodyPr/>
        <a:lstStyle/>
        <a:p>
          <a:endParaRPr lang="es-CO"/>
        </a:p>
      </dgm:t>
    </dgm:pt>
    <dgm:pt modelId="{D287BA2B-24C0-4C36-8885-BC8928DD763F}" type="pres">
      <dgm:prSet presAssocID="{B311A8E1-77ED-4E9A-8E14-467B811AF557}" presName="hierChild7" presStyleCnt="0"/>
      <dgm:spPr/>
      <dgm:t>
        <a:bodyPr/>
        <a:lstStyle/>
        <a:p>
          <a:endParaRPr lang="es-CO"/>
        </a:p>
      </dgm:t>
    </dgm:pt>
  </dgm:ptLst>
  <dgm:cxnLst>
    <dgm:cxn modelId="{99D87ACE-EF9C-4BF8-9A3C-3AA073E1090E}" type="presOf" srcId="{C5382F2C-03F2-44AA-899F-10A436D334F8}" destId="{E762E259-01C4-46D1-943A-0470FC5D8A60}" srcOrd="1" destOrd="0" presId="urn:microsoft.com/office/officeart/2005/8/layout/orgChart1"/>
    <dgm:cxn modelId="{24977906-33AD-47E4-B1D2-D63AA8FC9B46}" type="presOf" srcId="{A2C124F6-F57E-4390-A47C-9E22BEB59A49}" destId="{84E4863F-4772-4276-B0EA-635687C425DA}" srcOrd="0" destOrd="0" presId="urn:microsoft.com/office/officeart/2005/8/layout/orgChart1"/>
    <dgm:cxn modelId="{A5E00835-6AC1-44ED-8B01-364D63727973}" srcId="{C5382F2C-03F2-44AA-899F-10A436D334F8}" destId="{B32859F7-22CA-411D-BBBC-3C855EA720A7}" srcOrd="2" destOrd="0" parTransId="{4E7F2182-6136-4F02-8073-5A76366C424D}" sibTransId="{BE560A7F-786C-4981-8E81-BE9B917BF972}"/>
    <dgm:cxn modelId="{B8E070C9-FA2D-4C76-9587-307BFF31E388}" type="presOf" srcId="{BD043EA1-8A98-40F0-9B48-5B9CF2B5FC52}" destId="{00BBC198-B120-4A42-82F3-A791727F5DF1}" srcOrd="1" destOrd="0" presId="urn:microsoft.com/office/officeart/2005/8/layout/orgChart1"/>
    <dgm:cxn modelId="{28F69645-5276-4A78-A735-EF850EBC2728}" type="presOf" srcId="{C5382F2C-03F2-44AA-899F-10A436D334F8}" destId="{1A2613BE-0AD7-4E33-9A0D-36D9698DACD0}" srcOrd="0" destOrd="0" presId="urn:microsoft.com/office/officeart/2005/8/layout/orgChart1"/>
    <dgm:cxn modelId="{63A91038-8EB4-4C4C-A85C-FBC1A2B78A7E}" srcId="{01FBBEB9-EF89-4145-8D42-FCBD20941E46}" destId="{C5382F2C-03F2-44AA-899F-10A436D334F8}" srcOrd="0" destOrd="0" parTransId="{8F7A79A5-6D21-49A0-BE1C-59A16E1DDA8B}" sibTransId="{34D45C78-BC4D-43C1-92EC-563DC989C991}"/>
    <dgm:cxn modelId="{0117D324-B90A-42BA-B1AB-F706F48FC1D6}" type="presOf" srcId="{CC69C4C4-C0E1-4C27-85B7-80944FB27EBD}" destId="{65100E7F-2D93-4702-A8A6-A96D3C17EB8A}" srcOrd="0" destOrd="0" presId="urn:microsoft.com/office/officeart/2005/8/layout/orgChart1"/>
    <dgm:cxn modelId="{AC33D13D-6EA5-454C-9CB6-FCBB8476F7DA}" type="presOf" srcId="{01FBBEB9-EF89-4145-8D42-FCBD20941E46}" destId="{7AC3EE17-3FC9-47DD-8055-3152ABB9E2A6}" srcOrd="0" destOrd="0" presId="urn:microsoft.com/office/officeart/2005/8/layout/orgChart1"/>
    <dgm:cxn modelId="{2FDCACED-EF16-4B11-B2E4-977FB65D933D}" type="presOf" srcId="{3549F1CA-A974-48C0-9384-0E59DF4E5A48}" destId="{20C32DAF-0002-495B-A671-6EB3FFD1E13A}" srcOrd="0" destOrd="0" presId="urn:microsoft.com/office/officeart/2005/8/layout/orgChart1"/>
    <dgm:cxn modelId="{FBCB2A41-81CD-458A-ABA8-FB32B1112317}" type="presOf" srcId="{EB2C1BB7-90EE-4608-964E-DC4796F8ECB0}" destId="{8AD733F6-3998-4CFD-AD0C-8A72FF660FBB}" srcOrd="1" destOrd="0" presId="urn:microsoft.com/office/officeart/2005/8/layout/orgChart1"/>
    <dgm:cxn modelId="{5536FCFF-97B1-4CC2-94A7-DE99F5AD41A7}" type="presOf" srcId="{7C6B1117-F080-4005-9C07-05E28DBD9932}" destId="{2249D6E1-8FDF-4200-9C5F-B066F703A7C4}" srcOrd="0" destOrd="0" presId="urn:microsoft.com/office/officeart/2005/8/layout/orgChart1"/>
    <dgm:cxn modelId="{1C5C7268-ED9D-456A-8348-8E515E503974}" type="presOf" srcId="{B311A8E1-77ED-4E9A-8E14-467B811AF557}" destId="{12B34B2C-7453-4F8C-B947-43D579B86E2D}" srcOrd="0" destOrd="0" presId="urn:microsoft.com/office/officeart/2005/8/layout/orgChart1"/>
    <dgm:cxn modelId="{F63A1D1F-8651-4582-A7ED-100680EEB3D4}" type="presOf" srcId="{F80142E7-14C5-45CF-8E21-2FBA5FDF9234}" destId="{3BABE346-BE2D-48A4-8807-8D7AC6B172DB}" srcOrd="0" destOrd="0" presId="urn:microsoft.com/office/officeart/2005/8/layout/orgChart1"/>
    <dgm:cxn modelId="{B820CE28-0A82-4D6E-97D2-5194F40B97C3}" srcId="{C5382F2C-03F2-44AA-899F-10A436D334F8}" destId="{3549F1CA-A974-48C0-9384-0E59DF4E5A48}" srcOrd="3" destOrd="0" parTransId="{953AC778-B5A3-4025-B29E-F35A77593DB3}" sibTransId="{01874A3F-3E1F-4C4E-A02C-52CB9EB5F1CE}"/>
    <dgm:cxn modelId="{4CADAECD-1DF9-42ED-9659-5C9BD9377D38}" srcId="{7C6B1117-F080-4005-9C07-05E28DBD9932}" destId="{BD043EA1-8A98-40F0-9B48-5B9CF2B5FC52}" srcOrd="1" destOrd="0" parTransId="{A9E27993-C519-4AF9-8C32-BAB43F9CABB9}" sibTransId="{E1B77DB7-5F9C-41CD-8C8C-4F0EACED1B31}"/>
    <dgm:cxn modelId="{2D4B8ED0-4307-4118-98A9-0CB43EF06BB6}" type="presOf" srcId="{4E7F2182-6136-4F02-8073-5A76366C424D}" destId="{3FE908E8-C3D2-4BA2-8786-FBAC0A967571}" srcOrd="0" destOrd="0" presId="urn:microsoft.com/office/officeart/2005/8/layout/orgChart1"/>
    <dgm:cxn modelId="{4B0E5775-ACB8-4291-8F66-28D0D008BA56}" type="presOf" srcId="{A13BEEDE-AE23-47F1-B088-3FBA09518181}" destId="{35252B04-875E-42D4-93E4-E6546089B7EA}" srcOrd="0" destOrd="0" presId="urn:microsoft.com/office/officeart/2005/8/layout/orgChart1"/>
    <dgm:cxn modelId="{AEEE85FC-A8BD-4B69-838F-F2498EC5E446}" type="presOf" srcId="{F80142E7-14C5-45CF-8E21-2FBA5FDF9234}" destId="{4B7A34C6-2F20-45D4-88B8-DE37375C29EB}" srcOrd="1" destOrd="0" presId="urn:microsoft.com/office/officeart/2005/8/layout/orgChart1"/>
    <dgm:cxn modelId="{62990483-CF58-4386-99AE-33D167E4B078}" type="presOf" srcId="{8407CBC5-C4AF-4810-88A1-5E7A91B078CF}" destId="{3E9F280A-D91D-4347-91F0-008AD8F9B36E}" srcOrd="0" destOrd="0" presId="urn:microsoft.com/office/officeart/2005/8/layout/orgChart1"/>
    <dgm:cxn modelId="{03E0D396-D181-4095-BC0D-6388D3C44E54}" type="presOf" srcId="{8407CBC5-C4AF-4810-88A1-5E7A91B078CF}" destId="{9A628055-E0AE-4735-A048-9CD6A5A08049}" srcOrd="1" destOrd="0" presId="urn:microsoft.com/office/officeart/2005/8/layout/orgChart1"/>
    <dgm:cxn modelId="{B7CC01E7-2EA5-4393-842B-644CBA41C94D}" type="presOf" srcId="{B32859F7-22CA-411D-BBBC-3C855EA720A7}" destId="{342A6083-62D0-4783-A061-06FEB65B8A40}" srcOrd="1" destOrd="0" presId="urn:microsoft.com/office/officeart/2005/8/layout/orgChart1"/>
    <dgm:cxn modelId="{3369D223-F411-4857-8A39-AFD5BE5951C6}" srcId="{BD043EA1-8A98-40F0-9B48-5B9CF2B5FC52}" destId="{EB2C1BB7-90EE-4608-964E-DC4796F8ECB0}" srcOrd="0" destOrd="0" parTransId="{A13BEEDE-AE23-47F1-B088-3FBA09518181}" sibTransId="{2B4A8FB7-8A70-4C43-AD86-461DCD4A202F}"/>
    <dgm:cxn modelId="{1FE36F64-E264-4F64-8266-EFA52FC05728}" srcId="{C5382F2C-03F2-44AA-899F-10A436D334F8}" destId="{7C6B1117-F080-4005-9C07-05E28DBD9932}" srcOrd="1" destOrd="0" parTransId="{87724410-4FFA-4014-8B90-92B0BCF273DC}" sibTransId="{4ECD2987-0BE5-4E8E-AE34-CC20B7BDC5A6}"/>
    <dgm:cxn modelId="{80C59C1F-FA11-48BF-8366-08FE41220333}" type="presOf" srcId="{3549F1CA-A974-48C0-9384-0E59DF4E5A48}" destId="{53678F26-D131-424D-AF71-E0ED89D2BF6C}" srcOrd="1" destOrd="0" presId="urn:microsoft.com/office/officeart/2005/8/layout/orgChart1"/>
    <dgm:cxn modelId="{49B98EC8-7CA4-4FDD-A3F5-72CAEC0B024D}" type="presOf" srcId="{B32859F7-22CA-411D-BBBC-3C855EA720A7}" destId="{A14AF71E-D272-4705-B616-0F28B352D5C9}" srcOrd="0" destOrd="0" presId="urn:microsoft.com/office/officeart/2005/8/layout/orgChart1"/>
    <dgm:cxn modelId="{63C7BA03-361F-4309-B313-9AAEE199DB1B}" type="presOf" srcId="{B311A8E1-77ED-4E9A-8E14-467B811AF557}" destId="{F5D34169-5ECC-4BA8-AE54-3F02D0E910FD}" srcOrd="1" destOrd="0" presId="urn:microsoft.com/office/officeart/2005/8/layout/orgChart1"/>
    <dgm:cxn modelId="{A720B164-C330-4BCB-84FE-AB68AA033331}" type="presOf" srcId="{A9E27993-C519-4AF9-8C32-BAB43F9CABB9}" destId="{0747BF39-E96B-4F26-996E-75E718E1100B}" srcOrd="0" destOrd="0" presId="urn:microsoft.com/office/officeart/2005/8/layout/orgChart1"/>
    <dgm:cxn modelId="{4849C9D9-BF42-4536-A32F-EECAEC1F8E1E}" type="presOf" srcId="{EB2C1BB7-90EE-4608-964E-DC4796F8ECB0}" destId="{3853EB75-DF8F-451B-A5A0-A0817C7CA44A}" srcOrd="0" destOrd="0" presId="urn:microsoft.com/office/officeart/2005/8/layout/orgChart1"/>
    <dgm:cxn modelId="{87AAD570-2E28-4E42-98B3-2873D2547FBF}" srcId="{7C6B1117-F080-4005-9C07-05E28DBD9932}" destId="{8407CBC5-C4AF-4810-88A1-5E7A91B078CF}" srcOrd="0" destOrd="0" parTransId="{8410CA9F-CB2F-4E1E-B85A-39CC1774C4D8}" sibTransId="{8ADF1CDD-4C3D-4312-A449-7DC60937ABCF}"/>
    <dgm:cxn modelId="{884FAA24-CCAB-4C23-ADA5-B93F76044736}" type="presOf" srcId="{7C6B1117-F080-4005-9C07-05E28DBD9932}" destId="{71A2E280-CB38-464C-B080-3A1D09FFA03A}" srcOrd="1" destOrd="0" presId="urn:microsoft.com/office/officeart/2005/8/layout/orgChart1"/>
    <dgm:cxn modelId="{A3524D0D-5ECC-4727-B833-023DB263DF2B}" type="presOf" srcId="{BD043EA1-8A98-40F0-9B48-5B9CF2B5FC52}" destId="{991ABA27-EC68-47A4-87F1-5F60F712FF2B}" srcOrd="0" destOrd="0" presId="urn:microsoft.com/office/officeart/2005/8/layout/orgChart1"/>
    <dgm:cxn modelId="{C6C67CDF-5762-491B-B5CA-4070EAC2D5B6}" srcId="{C5382F2C-03F2-44AA-899F-10A436D334F8}" destId="{B311A8E1-77ED-4E9A-8E14-467B811AF557}" srcOrd="0" destOrd="0" parTransId="{A2C124F6-F57E-4390-A47C-9E22BEB59A49}" sibTransId="{7083AEDD-FBA7-447E-A2C4-8C68A6644BBD}"/>
    <dgm:cxn modelId="{B2D33C0C-2826-4EC3-8006-5C4D171CBC49}" srcId="{BD043EA1-8A98-40F0-9B48-5B9CF2B5FC52}" destId="{F80142E7-14C5-45CF-8E21-2FBA5FDF9234}" srcOrd="1" destOrd="0" parTransId="{CC69C4C4-C0E1-4C27-85B7-80944FB27EBD}" sibTransId="{59C1B4B0-9DDF-4850-A3B6-7A9698B30D0C}"/>
    <dgm:cxn modelId="{100C8994-132D-43A7-B874-645C83A44D21}" type="presOf" srcId="{953AC778-B5A3-4025-B29E-F35A77593DB3}" destId="{C54C1698-4808-47DA-A837-7D0CEA5B37B5}" srcOrd="0" destOrd="0" presId="urn:microsoft.com/office/officeart/2005/8/layout/orgChart1"/>
    <dgm:cxn modelId="{09C30FA2-9433-4D0A-85CB-452AB96F5EF6}" type="presOf" srcId="{8410CA9F-CB2F-4E1E-B85A-39CC1774C4D8}" destId="{8AE786D9-2BCA-45A4-A508-7F1828E381C0}" srcOrd="0" destOrd="0" presId="urn:microsoft.com/office/officeart/2005/8/layout/orgChart1"/>
    <dgm:cxn modelId="{8596C199-5D75-4FE8-A500-B1BBDFCBABCE}" type="presOf" srcId="{87724410-4FFA-4014-8B90-92B0BCF273DC}" destId="{9215A381-1F17-4F17-8717-7BFEDD1BB911}" srcOrd="0" destOrd="0" presId="urn:microsoft.com/office/officeart/2005/8/layout/orgChart1"/>
    <dgm:cxn modelId="{95A22349-D33B-4369-83DF-FA314C6007FF}" type="presParOf" srcId="{7AC3EE17-3FC9-47DD-8055-3152ABB9E2A6}" destId="{A4075F5A-78A9-4551-B077-65D048A3E437}" srcOrd="0" destOrd="0" presId="urn:microsoft.com/office/officeart/2005/8/layout/orgChart1"/>
    <dgm:cxn modelId="{3A4BAF6D-6C2B-4015-BD32-9E3FB753EC21}" type="presParOf" srcId="{A4075F5A-78A9-4551-B077-65D048A3E437}" destId="{4E20120E-1CE1-4603-B995-B13CE1CE4D55}" srcOrd="0" destOrd="0" presId="urn:microsoft.com/office/officeart/2005/8/layout/orgChart1"/>
    <dgm:cxn modelId="{9024D16E-EFD4-4C34-BADA-AFE6B8573CA3}" type="presParOf" srcId="{4E20120E-1CE1-4603-B995-B13CE1CE4D55}" destId="{1A2613BE-0AD7-4E33-9A0D-36D9698DACD0}" srcOrd="0" destOrd="0" presId="urn:microsoft.com/office/officeart/2005/8/layout/orgChart1"/>
    <dgm:cxn modelId="{560048E5-C814-4ABF-8790-E45E95821D38}" type="presParOf" srcId="{4E20120E-1CE1-4603-B995-B13CE1CE4D55}" destId="{E762E259-01C4-46D1-943A-0470FC5D8A60}" srcOrd="1" destOrd="0" presId="urn:microsoft.com/office/officeart/2005/8/layout/orgChart1"/>
    <dgm:cxn modelId="{25A283EA-914B-4677-BBA3-C2F5E31701C5}" type="presParOf" srcId="{A4075F5A-78A9-4551-B077-65D048A3E437}" destId="{733202B1-97F3-493E-AEE5-7FD1F9BC2722}" srcOrd="1" destOrd="0" presId="urn:microsoft.com/office/officeart/2005/8/layout/orgChart1"/>
    <dgm:cxn modelId="{08257066-7A3F-4517-90AD-30C9B9A45794}" type="presParOf" srcId="{733202B1-97F3-493E-AEE5-7FD1F9BC2722}" destId="{9215A381-1F17-4F17-8717-7BFEDD1BB911}" srcOrd="0" destOrd="0" presId="urn:microsoft.com/office/officeart/2005/8/layout/orgChart1"/>
    <dgm:cxn modelId="{E5A9A092-5378-4D1C-872C-03515B16868D}" type="presParOf" srcId="{733202B1-97F3-493E-AEE5-7FD1F9BC2722}" destId="{E9FB3220-CE59-4AB5-95D6-830A92488411}" srcOrd="1" destOrd="0" presId="urn:microsoft.com/office/officeart/2005/8/layout/orgChart1"/>
    <dgm:cxn modelId="{260DDD3A-82EE-4097-9F03-E0F4105C6724}" type="presParOf" srcId="{E9FB3220-CE59-4AB5-95D6-830A92488411}" destId="{03F6B954-E7BC-4D23-9E0E-E456A4F6304C}" srcOrd="0" destOrd="0" presId="urn:microsoft.com/office/officeart/2005/8/layout/orgChart1"/>
    <dgm:cxn modelId="{8C1C33D8-0C64-4E74-8423-D2B33551FE78}" type="presParOf" srcId="{03F6B954-E7BC-4D23-9E0E-E456A4F6304C}" destId="{2249D6E1-8FDF-4200-9C5F-B066F703A7C4}" srcOrd="0" destOrd="0" presId="urn:microsoft.com/office/officeart/2005/8/layout/orgChart1"/>
    <dgm:cxn modelId="{05A32787-A166-4F7D-A185-1671B807B170}" type="presParOf" srcId="{03F6B954-E7BC-4D23-9E0E-E456A4F6304C}" destId="{71A2E280-CB38-464C-B080-3A1D09FFA03A}" srcOrd="1" destOrd="0" presId="urn:microsoft.com/office/officeart/2005/8/layout/orgChart1"/>
    <dgm:cxn modelId="{7A24B8D6-2293-4AC7-B7B8-244BE0A0AF92}" type="presParOf" srcId="{E9FB3220-CE59-4AB5-95D6-830A92488411}" destId="{53B1EF4E-BE51-47BB-8D03-92204984CDF0}" srcOrd="1" destOrd="0" presId="urn:microsoft.com/office/officeart/2005/8/layout/orgChart1"/>
    <dgm:cxn modelId="{8B016B0C-7D00-42E8-8A94-9E1C3B2057C8}" type="presParOf" srcId="{53B1EF4E-BE51-47BB-8D03-92204984CDF0}" destId="{8AE786D9-2BCA-45A4-A508-7F1828E381C0}" srcOrd="0" destOrd="0" presId="urn:microsoft.com/office/officeart/2005/8/layout/orgChart1"/>
    <dgm:cxn modelId="{09471157-0CBA-4C8B-A5BB-E80A4D55D012}" type="presParOf" srcId="{53B1EF4E-BE51-47BB-8D03-92204984CDF0}" destId="{D3F91A78-4731-4CB2-AE02-B3325A1A60DC}" srcOrd="1" destOrd="0" presId="urn:microsoft.com/office/officeart/2005/8/layout/orgChart1"/>
    <dgm:cxn modelId="{EDA71FFF-DBDF-4666-B484-6B94384184F2}" type="presParOf" srcId="{D3F91A78-4731-4CB2-AE02-B3325A1A60DC}" destId="{3923A40E-A316-4C13-BFD4-4F032DCDC298}" srcOrd="0" destOrd="0" presId="urn:microsoft.com/office/officeart/2005/8/layout/orgChart1"/>
    <dgm:cxn modelId="{C6297F7C-9AD5-4E7C-9DEC-CE8D4B418593}" type="presParOf" srcId="{3923A40E-A316-4C13-BFD4-4F032DCDC298}" destId="{3E9F280A-D91D-4347-91F0-008AD8F9B36E}" srcOrd="0" destOrd="0" presId="urn:microsoft.com/office/officeart/2005/8/layout/orgChart1"/>
    <dgm:cxn modelId="{97730385-705B-451C-9B09-A7569168937C}" type="presParOf" srcId="{3923A40E-A316-4C13-BFD4-4F032DCDC298}" destId="{9A628055-E0AE-4735-A048-9CD6A5A08049}" srcOrd="1" destOrd="0" presId="urn:microsoft.com/office/officeart/2005/8/layout/orgChart1"/>
    <dgm:cxn modelId="{C27A3F9C-F35C-4118-8C85-CC8719F1069F}" type="presParOf" srcId="{D3F91A78-4731-4CB2-AE02-B3325A1A60DC}" destId="{02C05EE7-55B7-44AC-A368-C56613029C33}" srcOrd="1" destOrd="0" presId="urn:microsoft.com/office/officeart/2005/8/layout/orgChart1"/>
    <dgm:cxn modelId="{D1691584-CFA1-4464-AD61-7DEF15B7C107}" type="presParOf" srcId="{D3F91A78-4731-4CB2-AE02-B3325A1A60DC}" destId="{7F0C4548-9DB4-4946-9C78-956FB6D13598}" srcOrd="2" destOrd="0" presId="urn:microsoft.com/office/officeart/2005/8/layout/orgChart1"/>
    <dgm:cxn modelId="{E9F71007-E1F8-46C5-BC3F-55C8460BCDED}" type="presParOf" srcId="{53B1EF4E-BE51-47BB-8D03-92204984CDF0}" destId="{0747BF39-E96B-4F26-996E-75E718E1100B}" srcOrd="2" destOrd="0" presId="urn:microsoft.com/office/officeart/2005/8/layout/orgChart1"/>
    <dgm:cxn modelId="{3E3CFE23-9F0A-45E0-B765-D4EFB318427E}" type="presParOf" srcId="{53B1EF4E-BE51-47BB-8D03-92204984CDF0}" destId="{F574F71B-A8CE-41A3-A764-0D5463B69652}" srcOrd="3" destOrd="0" presId="urn:microsoft.com/office/officeart/2005/8/layout/orgChart1"/>
    <dgm:cxn modelId="{4C341148-FED0-49EA-8304-4F43107D0371}" type="presParOf" srcId="{F574F71B-A8CE-41A3-A764-0D5463B69652}" destId="{42066408-29F0-4DAE-B15D-7150F15BC7C6}" srcOrd="0" destOrd="0" presId="urn:microsoft.com/office/officeart/2005/8/layout/orgChart1"/>
    <dgm:cxn modelId="{75574205-0DBD-4984-B69B-7C3B906B068E}" type="presParOf" srcId="{42066408-29F0-4DAE-B15D-7150F15BC7C6}" destId="{991ABA27-EC68-47A4-87F1-5F60F712FF2B}" srcOrd="0" destOrd="0" presId="urn:microsoft.com/office/officeart/2005/8/layout/orgChart1"/>
    <dgm:cxn modelId="{B599433E-593D-40E4-96C3-930BDCCADD38}" type="presParOf" srcId="{42066408-29F0-4DAE-B15D-7150F15BC7C6}" destId="{00BBC198-B120-4A42-82F3-A791727F5DF1}" srcOrd="1" destOrd="0" presId="urn:microsoft.com/office/officeart/2005/8/layout/orgChart1"/>
    <dgm:cxn modelId="{463F7686-48DC-44B9-94E0-1654515853B8}" type="presParOf" srcId="{F574F71B-A8CE-41A3-A764-0D5463B69652}" destId="{D3457ABD-B713-4C0E-AB54-6C6AA9908DD0}" srcOrd="1" destOrd="0" presId="urn:microsoft.com/office/officeart/2005/8/layout/orgChart1"/>
    <dgm:cxn modelId="{DC428006-F2D8-43F0-82BC-8EFD9DF742D6}" type="presParOf" srcId="{D3457ABD-B713-4C0E-AB54-6C6AA9908DD0}" destId="{35252B04-875E-42D4-93E4-E6546089B7EA}" srcOrd="0" destOrd="0" presId="urn:microsoft.com/office/officeart/2005/8/layout/orgChart1"/>
    <dgm:cxn modelId="{39E43BB2-FFB0-4469-8473-1E776E33E9F8}" type="presParOf" srcId="{D3457ABD-B713-4C0E-AB54-6C6AA9908DD0}" destId="{DB61E1AA-78EA-498C-9FC1-7876A1FE5F80}" srcOrd="1" destOrd="0" presId="urn:microsoft.com/office/officeart/2005/8/layout/orgChart1"/>
    <dgm:cxn modelId="{A5069FEF-09E2-49CF-B34C-18FEFC837575}" type="presParOf" srcId="{DB61E1AA-78EA-498C-9FC1-7876A1FE5F80}" destId="{FDE9018C-6BEF-4C36-8633-1F38CFC8EE0F}" srcOrd="0" destOrd="0" presId="urn:microsoft.com/office/officeart/2005/8/layout/orgChart1"/>
    <dgm:cxn modelId="{890D5BFC-15AC-4FF5-A541-76CB31CE1BB8}" type="presParOf" srcId="{FDE9018C-6BEF-4C36-8633-1F38CFC8EE0F}" destId="{3853EB75-DF8F-451B-A5A0-A0817C7CA44A}" srcOrd="0" destOrd="0" presId="urn:microsoft.com/office/officeart/2005/8/layout/orgChart1"/>
    <dgm:cxn modelId="{A93F4928-1980-436C-9AD8-F88637051FB3}" type="presParOf" srcId="{FDE9018C-6BEF-4C36-8633-1F38CFC8EE0F}" destId="{8AD733F6-3998-4CFD-AD0C-8A72FF660FBB}" srcOrd="1" destOrd="0" presId="urn:microsoft.com/office/officeart/2005/8/layout/orgChart1"/>
    <dgm:cxn modelId="{490A379D-20A7-4BA2-B473-DDE8CE34A2C3}" type="presParOf" srcId="{DB61E1AA-78EA-498C-9FC1-7876A1FE5F80}" destId="{DB924262-31E0-4212-8A03-F012E048F065}" srcOrd="1" destOrd="0" presId="urn:microsoft.com/office/officeart/2005/8/layout/orgChart1"/>
    <dgm:cxn modelId="{C0FA6289-7D3E-4C56-B767-4F931D05245C}" type="presParOf" srcId="{DB61E1AA-78EA-498C-9FC1-7876A1FE5F80}" destId="{F8FE7DDE-E712-4168-B1DF-C8521DE13195}" srcOrd="2" destOrd="0" presId="urn:microsoft.com/office/officeart/2005/8/layout/orgChart1"/>
    <dgm:cxn modelId="{AD408618-0B5F-467E-9156-6795ED444E5F}" type="presParOf" srcId="{D3457ABD-B713-4C0E-AB54-6C6AA9908DD0}" destId="{65100E7F-2D93-4702-A8A6-A96D3C17EB8A}" srcOrd="2" destOrd="0" presId="urn:microsoft.com/office/officeart/2005/8/layout/orgChart1"/>
    <dgm:cxn modelId="{832FC492-66E4-4D62-9B86-0988748F030A}" type="presParOf" srcId="{D3457ABD-B713-4C0E-AB54-6C6AA9908DD0}" destId="{B7F3B81D-49DE-47AB-ACAE-5762C442E02A}" srcOrd="3" destOrd="0" presId="urn:microsoft.com/office/officeart/2005/8/layout/orgChart1"/>
    <dgm:cxn modelId="{49585C90-80A7-464B-BD91-3834E850A046}" type="presParOf" srcId="{B7F3B81D-49DE-47AB-ACAE-5762C442E02A}" destId="{542C2A8B-0170-4E70-AB99-58F3943429ED}" srcOrd="0" destOrd="0" presId="urn:microsoft.com/office/officeart/2005/8/layout/orgChart1"/>
    <dgm:cxn modelId="{A23A8E57-C32E-456D-B04F-8BB9EEFCDA5E}" type="presParOf" srcId="{542C2A8B-0170-4E70-AB99-58F3943429ED}" destId="{3BABE346-BE2D-48A4-8807-8D7AC6B172DB}" srcOrd="0" destOrd="0" presId="urn:microsoft.com/office/officeart/2005/8/layout/orgChart1"/>
    <dgm:cxn modelId="{451E4454-E432-4C81-93F9-272945CC4C78}" type="presParOf" srcId="{542C2A8B-0170-4E70-AB99-58F3943429ED}" destId="{4B7A34C6-2F20-45D4-88B8-DE37375C29EB}" srcOrd="1" destOrd="0" presId="urn:microsoft.com/office/officeart/2005/8/layout/orgChart1"/>
    <dgm:cxn modelId="{F811055B-6F58-4D66-AE8C-822C7C2701A7}" type="presParOf" srcId="{B7F3B81D-49DE-47AB-ACAE-5762C442E02A}" destId="{FD9AD94C-52BF-4786-B6BD-DDCF746C0626}" srcOrd="1" destOrd="0" presId="urn:microsoft.com/office/officeart/2005/8/layout/orgChart1"/>
    <dgm:cxn modelId="{B643018E-9A77-4369-B80B-726E10BFC501}" type="presParOf" srcId="{B7F3B81D-49DE-47AB-ACAE-5762C442E02A}" destId="{B021A204-A7EB-4AFA-A488-485906D86FC9}" srcOrd="2" destOrd="0" presId="urn:microsoft.com/office/officeart/2005/8/layout/orgChart1"/>
    <dgm:cxn modelId="{974F8309-A04E-4D8F-954E-2C5B2154AB5F}" type="presParOf" srcId="{F574F71B-A8CE-41A3-A764-0D5463B69652}" destId="{5F23F4BA-ACAB-43F0-85FA-98EBCCC291C9}" srcOrd="2" destOrd="0" presId="urn:microsoft.com/office/officeart/2005/8/layout/orgChart1"/>
    <dgm:cxn modelId="{87E2B7D4-46DA-479C-9828-DFD1E7A63645}" type="presParOf" srcId="{E9FB3220-CE59-4AB5-95D6-830A92488411}" destId="{FBC10678-2454-421E-B60D-C4B8C20F20FB}" srcOrd="2" destOrd="0" presId="urn:microsoft.com/office/officeart/2005/8/layout/orgChart1"/>
    <dgm:cxn modelId="{BE387F8F-1359-47F7-8AB7-14A003500A1D}" type="presParOf" srcId="{733202B1-97F3-493E-AEE5-7FD1F9BC2722}" destId="{3FE908E8-C3D2-4BA2-8786-FBAC0A967571}" srcOrd="2" destOrd="0" presId="urn:microsoft.com/office/officeart/2005/8/layout/orgChart1"/>
    <dgm:cxn modelId="{AEF1CE55-E5EB-4043-914E-C27F78FF2A51}" type="presParOf" srcId="{733202B1-97F3-493E-AEE5-7FD1F9BC2722}" destId="{95E23757-83CD-4212-BCB4-4B02F793EFA7}" srcOrd="3" destOrd="0" presId="urn:microsoft.com/office/officeart/2005/8/layout/orgChart1"/>
    <dgm:cxn modelId="{1B88D40B-A90D-49B5-B4F8-049B840A3959}" type="presParOf" srcId="{95E23757-83CD-4212-BCB4-4B02F793EFA7}" destId="{EAED128B-0295-47A1-BF6C-15484F04F0C0}" srcOrd="0" destOrd="0" presId="urn:microsoft.com/office/officeart/2005/8/layout/orgChart1"/>
    <dgm:cxn modelId="{FA541E71-9B13-4C80-AA4D-4A67CC13D402}" type="presParOf" srcId="{EAED128B-0295-47A1-BF6C-15484F04F0C0}" destId="{A14AF71E-D272-4705-B616-0F28B352D5C9}" srcOrd="0" destOrd="0" presId="urn:microsoft.com/office/officeart/2005/8/layout/orgChart1"/>
    <dgm:cxn modelId="{8A00DCFB-EF9D-43FB-9B40-8A6B99C30F90}" type="presParOf" srcId="{EAED128B-0295-47A1-BF6C-15484F04F0C0}" destId="{342A6083-62D0-4783-A061-06FEB65B8A40}" srcOrd="1" destOrd="0" presId="urn:microsoft.com/office/officeart/2005/8/layout/orgChart1"/>
    <dgm:cxn modelId="{28E2B24D-9866-4C4F-8144-A6EA37F53B3D}" type="presParOf" srcId="{95E23757-83CD-4212-BCB4-4B02F793EFA7}" destId="{0A5EA5F6-27F8-4384-92CF-7195F06B22E0}" srcOrd="1" destOrd="0" presId="urn:microsoft.com/office/officeart/2005/8/layout/orgChart1"/>
    <dgm:cxn modelId="{3BEF7896-131D-454D-A45E-8BA529AD9727}" type="presParOf" srcId="{95E23757-83CD-4212-BCB4-4B02F793EFA7}" destId="{A1759972-4120-4230-8169-8908443737B0}" srcOrd="2" destOrd="0" presId="urn:microsoft.com/office/officeart/2005/8/layout/orgChart1"/>
    <dgm:cxn modelId="{4CA89BA0-7EFC-4770-B7A0-E5F86CEC8073}" type="presParOf" srcId="{733202B1-97F3-493E-AEE5-7FD1F9BC2722}" destId="{C54C1698-4808-47DA-A837-7D0CEA5B37B5}" srcOrd="4" destOrd="0" presId="urn:microsoft.com/office/officeart/2005/8/layout/orgChart1"/>
    <dgm:cxn modelId="{FD64A31E-9208-48BF-85EE-C522CE144FB0}" type="presParOf" srcId="{733202B1-97F3-493E-AEE5-7FD1F9BC2722}" destId="{80CFCF93-C228-48A3-B33E-1993BB61FFE3}" srcOrd="5" destOrd="0" presId="urn:microsoft.com/office/officeart/2005/8/layout/orgChart1"/>
    <dgm:cxn modelId="{EC96BB81-969E-4C48-80C1-2C217EEBC98D}" type="presParOf" srcId="{80CFCF93-C228-48A3-B33E-1993BB61FFE3}" destId="{C823FF97-0429-4D80-9E34-0D5468639E5D}" srcOrd="0" destOrd="0" presId="urn:microsoft.com/office/officeart/2005/8/layout/orgChart1"/>
    <dgm:cxn modelId="{E04D24E5-5842-4780-9612-9251689AFC48}" type="presParOf" srcId="{C823FF97-0429-4D80-9E34-0D5468639E5D}" destId="{20C32DAF-0002-495B-A671-6EB3FFD1E13A}" srcOrd="0" destOrd="0" presId="urn:microsoft.com/office/officeart/2005/8/layout/orgChart1"/>
    <dgm:cxn modelId="{C3725290-8CC3-4009-8ECE-ADE110EBE7FE}" type="presParOf" srcId="{C823FF97-0429-4D80-9E34-0D5468639E5D}" destId="{53678F26-D131-424D-AF71-E0ED89D2BF6C}" srcOrd="1" destOrd="0" presId="urn:microsoft.com/office/officeart/2005/8/layout/orgChart1"/>
    <dgm:cxn modelId="{41915AA2-8332-43FB-83F7-1E3252C03C14}" type="presParOf" srcId="{80CFCF93-C228-48A3-B33E-1993BB61FFE3}" destId="{760793AE-A4CE-4C35-934D-1C7DDFA1FBE5}" srcOrd="1" destOrd="0" presId="urn:microsoft.com/office/officeart/2005/8/layout/orgChart1"/>
    <dgm:cxn modelId="{A6D4EAB6-1E4D-4BD4-B0AD-6C5356655C33}" type="presParOf" srcId="{80CFCF93-C228-48A3-B33E-1993BB61FFE3}" destId="{1C4C7044-7884-4DDC-B50E-D1A89AEAC7CB}" srcOrd="2" destOrd="0" presId="urn:microsoft.com/office/officeart/2005/8/layout/orgChart1"/>
    <dgm:cxn modelId="{B369D0FE-B686-4340-A7C0-1C695D007448}" type="presParOf" srcId="{A4075F5A-78A9-4551-B077-65D048A3E437}" destId="{90A18F18-B0F9-4259-BBBE-9007A4C16FE4}" srcOrd="2" destOrd="0" presId="urn:microsoft.com/office/officeart/2005/8/layout/orgChart1"/>
    <dgm:cxn modelId="{9079ECD3-BEE9-48A1-BE11-260191810A98}" type="presParOf" srcId="{90A18F18-B0F9-4259-BBBE-9007A4C16FE4}" destId="{84E4863F-4772-4276-B0EA-635687C425DA}" srcOrd="0" destOrd="0" presId="urn:microsoft.com/office/officeart/2005/8/layout/orgChart1"/>
    <dgm:cxn modelId="{5BC330D1-6882-443A-B128-CD98F8971509}" type="presParOf" srcId="{90A18F18-B0F9-4259-BBBE-9007A4C16FE4}" destId="{0C29BA9A-B0F2-4EDD-B616-53B4798044CB}" srcOrd="1" destOrd="0" presId="urn:microsoft.com/office/officeart/2005/8/layout/orgChart1"/>
    <dgm:cxn modelId="{32FE6183-5DF9-4C52-BCDE-306727C12A65}" type="presParOf" srcId="{0C29BA9A-B0F2-4EDD-B616-53B4798044CB}" destId="{B0F994CA-E762-461B-A0F5-3783AB4BAFD9}" srcOrd="0" destOrd="0" presId="urn:microsoft.com/office/officeart/2005/8/layout/orgChart1"/>
    <dgm:cxn modelId="{06E77B41-D2AC-44AD-82D8-6619BBD72D7F}" type="presParOf" srcId="{B0F994CA-E762-461B-A0F5-3783AB4BAFD9}" destId="{12B34B2C-7453-4F8C-B947-43D579B86E2D}" srcOrd="0" destOrd="0" presId="urn:microsoft.com/office/officeart/2005/8/layout/orgChart1"/>
    <dgm:cxn modelId="{092FFF74-B11F-4A00-A2D6-6351935F6788}" type="presParOf" srcId="{B0F994CA-E762-461B-A0F5-3783AB4BAFD9}" destId="{F5D34169-5ECC-4BA8-AE54-3F02D0E910FD}" srcOrd="1" destOrd="0" presId="urn:microsoft.com/office/officeart/2005/8/layout/orgChart1"/>
    <dgm:cxn modelId="{7BC8D8E0-FE12-4F3A-BF43-98AE3D38526F}" type="presParOf" srcId="{0C29BA9A-B0F2-4EDD-B616-53B4798044CB}" destId="{94237583-E230-4C2E-ACF5-B063414A23F7}" srcOrd="1" destOrd="0" presId="urn:microsoft.com/office/officeart/2005/8/layout/orgChart1"/>
    <dgm:cxn modelId="{96AA231A-682B-4E6B-B785-436ED52E4A91}" type="presParOf" srcId="{0C29BA9A-B0F2-4EDD-B616-53B4798044CB}" destId="{D287BA2B-24C0-4C36-8885-BC8928DD763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3" loCatId="list" qsTypeId="urn:microsoft.com/office/officeart/2005/8/quickstyle/simple1" qsCatId="simple" csTypeId="urn:microsoft.com/office/officeart/2005/8/colors/accent6_1" csCatId="accent6" phldr="1"/>
      <dgm:spPr/>
    </dgm:pt>
    <dgm:pt modelId="{E61B9CB5-9E27-4131-BDE3-F92AF674A67E}">
      <dgm:prSet custT="1"/>
      <dgm:spPr/>
      <dgm:t>
        <a:bodyPr/>
        <a:lstStyle/>
        <a:p>
          <a:pPr algn="just"/>
          <a:r>
            <a:rPr lang="es-CO" sz="2000" b="0" smtClean="0">
              <a:effectLst/>
            </a:rPr>
            <a:t>Perfil de egreso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06B18235-CEB8-41FB-89BB-F680F942D127}" type="par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BAD095D-B658-4732-A797-BE6998370E02}" type="sib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8D87FB3-CD40-4F8B-B52B-8B87DED4C55C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Diseño curricular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328AB754-3DAB-4D56-9D25-93A6508AD86A}" type="parTrans" cxnId="{F7B91381-0CC1-4C52-A070-9871827D43CE}">
      <dgm:prSet/>
      <dgm:spPr/>
      <dgm:t>
        <a:bodyPr/>
        <a:lstStyle/>
        <a:p>
          <a:endParaRPr lang="es-CO"/>
        </a:p>
      </dgm:t>
    </dgm:pt>
    <dgm:pt modelId="{08710812-198C-4592-8C91-F74DCBADB1A0}" type="sibTrans" cxnId="{F7B91381-0CC1-4C52-A070-9871827D43CE}">
      <dgm:prSet/>
      <dgm:spPr/>
      <dgm:t>
        <a:bodyPr/>
        <a:lstStyle/>
        <a:p>
          <a:endParaRPr lang="es-CO"/>
        </a:p>
      </dgm:t>
    </dgm:pt>
    <dgm:pt modelId="{7025C94A-7A60-410B-8216-C82234F1A7E8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Estrategia de formación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F0810A11-BF62-49FE-9D58-CCFBA3BA6322}" type="parTrans" cxnId="{102D8AC4-3709-4A80-9564-F971A6E78151}">
      <dgm:prSet/>
      <dgm:spPr/>
      <dgm:t>
        <a:bodyPr/>
        <a:lstStyle/>
        <a:p>
          <a:endParaRPr lang="es-CO"/>
        </a:p>
      </dgm:t>
    </dgm:pt>
    <dgm:pt modelId="{BB617F07-E3A7-40E3-9B0C-8188AD2C3729}" type="sibTrans" cxnId="{102D8AC4-3709-4A80-9564-F971A6E78151}">
      <dgm:prSet/>
      <dgm:spPr/>
      <dgm:t>
        <a:bodyPr/>
        <a:lstStyle/>
        <a:p>
          <a:endParaRPr lang="es-CO"/>
        </a:p>
      </dgm:t>
    </dgm:pt>
    <dgm:pt modelId="{8C1085CC-B5EA-48CB-AFBB-FAD0BBA529F6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Ambientes y recursos de aprendizaje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2ADAEEEF-29AE-44FD-B10A-947814F301B4}" type="parTrans" cxnId="{B8CFEB5A-8A07-4A4C-B045-F7BD75C3E8B2}">
      <dgm:prSet/>
      <dgm:spPr/>
      <dgm:t>
        <a:bodyPr/>
        <a:lstStyle/>
        <a:p>
          <a:endParaRPr lang="es-CO"/>
        </a:p>
      </dgm:t>
    </dgm:pt>
    <dgm:pt modelId="{CF97D4AF-EC91-43CE-95F7-2B479AD20FF3}" type="sibTrans" cxnId="{B8CFEB5A-8A07-4A4C-B045-F7BD75C3E8B2}">
      <dgm:prSet/>
      <dgm:spPr/>
      <dgm:t>
        <a:bodyPr/>
        <a:lstStyle/>
        <a:p>
          <a:endParaRPr lang="es-CO"/>
        </a:p>
      </dgm:t>
    </dgm:pt>
    <dgm:pt modelId="{FBFFE778-0DCF-453B-A022-F58D5D3AECE6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Orientación al estudiante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FBE3D6A-5B49-4A1B-8A62-E8B40D820D27}" type="parTrans" cxnId="{65F07082-7D41-407A-AB68-358B2F51C7A7}">
      <dgm:prSet/>
      <dgm:spPr/>
      <dgm:t>
        <a:bodyPr/>
        <a:lstStyle/>
        <a:p>
          <a:endParaRPr lang="es-CO"/>
        </a:p>
      </dgm:t>
    </dgm:pt>
    <dgm:pt modelId="{E789D949-B21C-40E6-9BEC-BF6BB9144D42}" type="sibTrans" cxnId="{65F07082-7D41-407A-AB68-358B2F51C7A7}">
      <dgm:prSet/>
      <dgm:spPr/>
      <dgm:t>
        <a:bodyPr/>
        <a:lstStyle/>
        <a:p>
          <a:endParaRPr lang="es-CO"/>
        </a:p>
      </dgm:t>
    </dgm:pt>
    <dgm:pt modelId="{EA13C615-5FF4-4D9F-919F-89301FFEB349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Resultados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1A3690C9-9853-48B8-B034-261EC9FCFDE2}" type="parTrans" cxnId="{1F2B6709-6922-41D7-8C13-D895A04E1C8E}">
      <dgm:prSet/>
      <dgm:spPr/>
      <dgm:t>
        <a:bodyPr/>
        <a:lstStyle/>
        <a:p>
          <a:endParaRPr lang="es-CO"/>
        </a:p>
      </dgm:t>
    </dgm:pt>
    <dgm:pt modelId="{41558635-5FEC-45A2-8E86-30F2B7F7A4A3}" type="sibTrans" cxnId="{1F2B6709-6922-41D7-8C13-D895A04E1C8E}">
      <dgm:prSet/>
      <dgm:spPr/>
      <dgm:t>
        <a:bodyPr/>
        <a:lstStyle/>
        <a:p>
          <a:endParaRPr lang="es-CO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D6F864FF-5319-415F-AC5B-62154A5BA0E5}" type="pres">
      <dgm:prSet presAssocID="{E61B9CB5-9E27-4131-BDE3-F92AF674A67E}" presName="composite" presStyleCnt="0"/>
      <dgm:spPr/>
    </dgm:pt>
    <dgm:pt modelId="{A06848A9-0673-48CE-9E8A-C7D28F82CB08}" type="pres">
      <dgm:prSet presAssocID="{E61B9CB5-9E27-4131-BDE3-F92AF674A67E}" presName="imgShp" presStyleLbl="fgImgPlace1" presStyleIdx="0" presStyleCnt="6"/>
      <dgm:spPr/>
    </dgm:pt>
    <dgm:pt modelId="{2CCCEE37-84CC-4FFB-BDD2-2EBFE568AA78}" type="pres">
      <dgm:prSet presAssocID="{E61B9CB5-9E27-4131-BDE3-F92AF674A67E}" presName="txShp" presStyleLbl="node1" presStyleIdx="0" presStyleCnt="6" custLinFactNeighborX="119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10434F6-8F83-4F50-8320-37B73A901959}" type="pres">
      <dgm:prSet presAssocID="{5BAD095D-B658-4732-A797-BE6998370E02}" presName="spacing" presStyleCnt="0"/>
      <dgm:spPr/>
    </dgm:pt>
    <dgm:pt modelId="{A61FBF47-81C0-4B41-8CE5-0A3AFC49A911}" type="pres">
      <dgm:prSet presAssocID="{58D87FB3-CD40-4F8B-B52B-8B87DED4C55C}" presName="composite" presStyleCnt="0"/>
      <dgm:spPr/>
    </dgm:pt>
    <dgm:pt modelId="{E3C91D00-E061-4C92-90EE-7F9079521B4E}" type="pres">
      <dgm:prSet presAssocID="{58D87FB3-CD40-4F8B-B52B-8B87DED4C55C}" presName="imgShp" presStyleLbl="fgImgPlace1" presStyleIdx="1" presStyleCnt="6"/>
      <dgm:spPr/>
    </dgm:pt>
    <dgm:pt modelId="{6167B104-8387-4618-A918-0C5B8BE70460}" type="pres">
      <dgm:prSet presAssocID="{58D87FB3-CD40-4F8B-B52B-8B87DED4C55C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EC7C1D8-43A2-44DA-A8B3-C522E6A14566}" type="pres">
      <dgm:prSet presAssocID="{08710812-198C-4592-8C91-F74DCBADB1A0}" presName="spacing" presStyleCnt="0"/>
      <dgm:spPr/>
    </dgm:pt>
    <dgm:pt modelId="{7F3CFDBB-771B-4DE6-B965-21C058531919}" type="pres">
      <dgm:prSet presAssocID="{7025C94A-7A60-410B-8216-C82234F1A7E8}" presName="composite" presStyleCnt="0"/>
      <dgm:spPr/>
    </dgm:pt>
    <dgm:pt modelId="{C6FBEE0D-95DE-4531-A594-2828237A1A1C}" type="pres">
      <dgm:prSet presAssocID="{7025C94A-7A60-410B-8216-C82234F1A7E8}" presName="imgShp" presStyleLbl="fgImgPlace1" presStyleIdx="2" presStyleCnt="6"/>
      <dgm:spPr/>
    </dgm:pt>
    <dgm:pt modelId="{3377F370-FA76-46CC-80DD-15DEF2F3AEAC}" type="pres">
      <dgm:prSet presAssocID="{7025C94A-7A60-410B-8216-C82234F1A7E8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FA7591A-6DB5-4CD6-B485-E784A532F00E}" type="pres">
      <dgm:prSet presAssocID="{BB617F07-E3A7-40E3-9B0C-8188AD2C3729}" presName="spacing" presStyleCnt="0"/>
      <dgm:spPr/>
    </dgm:pt>
    <dgm:pt modelId="{1F9B520D-2CFA-48F5-9975-EB874DD6FF26}" type="pres">
      <dgm:prSet presAssocID="{8C1085CC-B5EA-48CB-AFBB-FAD0BBA529F6}" presName="composite" presStyleCnt="0"/>
      <dgm:spPr/>
    </dgm:pt>
    <dgm:pt modelId="{FE010DDC-EF4B-43AF-8661-0DE03706571B}" type="pres">
      <dgm:prSet presAssocID="{8C1085CC-B5EA-48CB-AFBB-FAD0BBA529F6}" presName="imgShp" presStyleLbl="fgImgPlace1" presStyleIdx="3" presStyleCnt="6"/>
      <dgm:spPr/>
    </dgm:pt>
    <dgm:pt modelId="{594877A9-8A08-40E9-9FCB-37F24340B295}" type="pres">
      <dgm:prSet presAssocID="{8C1085CC-B5EA-48CB-AFBB-FAD0BBA529F6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144D58A-E1AF-4C65-8040-A807F58083C8}" type="pres">
      <dgm:prSet presAssocID="{CF97D4AF-EC91-43CE-95F7-2B479AD20FF3}" presName="spacing" presStyleCnt="0"/>
      <dgm:spPr/>
    </dgm:pt>
    <dgm:pt modelId="{8999EFA6-D691-4184-9979-6B8D98633755}" type="pres">
      <dgm:prSet presAssocID="{FBFFE778-0DCF-453B-A022-F58D5D3AECE6}" presName="composite" presStyleCnt="0"/>
      <dgm:spPr/>
    </dgm:pt>
    <dgm:pt modelId="{C65667AB-79B9-4237-9263-C5DCD799A16C}" type="pres">
      <dgm:prSet presAssocID="{FBFFE778-0DCF-453B-A022-F58D5D3AECE6}" presName="imgShp" presStyleLbl="fgImgPlace1" presStyleIdx="4" presStyleCnt="6"/>
      <dgm:spPr/>
    </dgm:pt>
    <dgm:pt modelId="{D1769513-1D7B-4A29-A35E-728C9428A191}" type="pres">
      <dgm:prSet presAssocID="{FBFFE778-0DCF-453B-A022-F58D5D3AECE6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2EFDDE0-96E2-4202-859F-E3BEBF11D7A5}" type="pres">
      <dgm:prSet presAssocID="{E789D949-B21C-40E6-9BEC-BF6BB9144D42}" presName="spacing" presStyleCnt="0"/>
      <dgm:spPr/>
    </dgm:pt>
    <dgm:pt modelId="{3986B42E-12FF-4BD9-ADA6-73FE3C49B3DE}" type="pres">
      <dgm:prSet presAssocID="{EA13C615-5FF4-4D9F-919F-89301FFEB349}" presName="composite" presStyleCnt="0"/>
      <dgm:spPr/>
    </dgm:pt>
    <dgm:pt modelId="{2B6021C6-7717-432D-86DC-3024FDFA8E68}" type="pres">
      <dgm:prSet presAssocID="{EA13C615-5FF4-4D9F-919F-89301FFEB349}" presName="imgShp" presStyleLbl="fgImgPlace1" presStyleIdx="5" presStyleCnt="6"/>
      <dgm:spPr/>
    </dgm:pt>
    <dgm:pt modelId="{E9B61F9F-231F-4C68-8A5B-E081EECA0ED2}" type="pres">
      <dgm:prSet presAssocID="{EA13C615-5FF4-4D9F-919F-89301FFEB349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8019B3B6-EDE0-4883-8A7F-CDB0943501D1}" srcId="{F6F251FE-E3B1-41D0-9AD4-59597E0F13C9}" destId="{E61B9CB5-9E27-4131-BDE3-F92AF674A67E}" srcOrd="0" destOrd="0" parTransId="{06B18235-CEB8-41FB-89BB-F680F942D127}" sibTransId="{5BAD095D-B658-4732-A797-BE6998370E02}"/>
    <dgm:cxn modelId="{B8CFEB5A-8A07-4A4C-B045-F7BD75C3E8B2}" srcId="{F6F251FE-E3B1-41D0-9AD4-59597E0F13C9}" destId="{8C1085CC-B5EA-48CB-AFBB-FAD0BBA529F6}" srcOrd="3" destOrd="0" parTransId="{2ADAEEEF-29AE-44FD-B10A-947814F301B4}" sibTransId="{CF97D4AF-EC91-43CE-95F7-2B479AD20FF3}"/>
    <dgm:cxn modelId="{63CF6E4D-ACAA-4B6A-A033-189CE2F39EDB}" type="presOf" srcId="{F6F251FE-E3B1-41D0-9AD4-59597E0F13C9}" destId="{33AC8322-AEC8-46B4-9E61-12DF1557F4F1}" srcOrd="0" destOrd="0" presId="urn:microsoft.com/office/officeart/2005/8/layout/vList3#3"/>
    <dgm:cxn modelId="{65F07082-7D41-407A-AB68-358B2F51C7A7}" srcId="{F6F251FE-E3B1-41D0-9AD4-59597E0F13C9}" destId="{FBFFE778-0DCF-453B-A022-F58D5D3AECE6}" srcOrd="4" destOrd="0" parTransId="{EFBE3D6A-5B49-4A1B-8A62-E8B40D820D27}" sibTransId="{E789D949-B21C-40E6-9BEC-BF6BB9144D42}"/>
    <dgm:cxn modelId="{1F2B6709-6922-41D7-8C13-D895A04E1C8E}" srcId="{F6F251FE-E3B1-41D0-9AD4-59597E0F13C9}" destId="{EA13C615-5FF4-4D9F-919F-89301FFEB349}" srcOrd="5" destOrd="0" parTransId="{1A3690C9-9853-48B8-B034-261EC9FCFDE2}" sibTransId="{41558635-5FEC-45A2-8E86-30F2B7F7A4A3}"/>
    <dgm:cxn modelId="{F7B91381-0CC1-4C52-A070-9871827D43CE}" srcId="{F6F251FE-E3B1-41D0-9AD4-59597E0F13C9}" destId="{58D87FB3-CD40-4F8B-B52B-8B87DED4C55C}" srcOrd="1" destOrd="0" parTransId="{328AB754-3DAB-4D56-9D25-93A6508AD86A}" sibTransId="{08710812-198C-4592-8C91-F74DCBADB1A0}"/>
    <dgm:cxn modelId="{102D8AC4-3709-4A80-9564-F971A6E78151}" srcId="{F6F251FE-E3B1-41D0-9AD4-59597E0F13C9}" destId="{7025C94A-7A60-410B-8216-C82234F1A7E8}" srcOrd="2" destOrd="0" parTransId="{F0810A11-BF62-49FE-9D58-CCFBA3BA6322}" sibTransId="{BB617F07-E3A7-40E3-9B0C-8188AD2C3729}"/>
    <dgm:cxn modelId="{08D0C36F-7F4B-4D17-8292-4115F22A7ECB}" type="presOf" srcId="{58D87FB3-CD40-4F8B-B52B-8B87DED4C55C}" destId="{6167B104-8387-4618-A918-0C5B8BE70460}" srcOrd="0" destOrd="0" presId="urn:microsoft.com/office/officeart/2005/8/layout/vList3#3"/>
    <dgm:cxn modelId="{56029E72-EF4E-4B64-9B53-96C6847C6E62}" type="presOf" srcId="{7025C94A-7A60-410B-8216-C82234F1A7E8}" destId="{3377F370-FA76-46CC-80DD-15DEF2F3AEAC}" srcOrd="0" destOrd="0" presId="urn:microsoft.com/office/officeart/2005/8/layout/vList3#3"/>
    <dgm:cxn modelId="{1DA1A6B3-7A3F-4EA3-87F5-EF290ECC1E31}" type="presOf" srcId="{EA13C615-5FF4-4D9F-919F-89301FFEB349}" destId="{E9B61F9F-231F-4C68-8A5B-E081EECA0ED2}" srcOrd="0" destOrd="0" presId="urn:microsoft.com/office/officeart/2005/8/layout/vList3#3"/>
    <dgm:cxn modelId="{0C706110-970D-4113-B908-DDB1808B8B4B}" type="presOf" srcId="{8C1085CC-B5EA-48CB-AFBB-FAD0BBA529F6}" destId="{594877A9-8A08-40E9-9FCB-37F24340B295}" srcOrd="0" destOrd="0" presId="urn:microsoft.com/office/officeart/2005/8/layout/vList3#3"/>
    <dgm:cxn modelId="{43AA0F3C-1338-4729-BECE-D41A555734E8}" type="presOf" srcId="{E61B9CB5-9E27-4131-BDE3-F92AF674A67E}" destId="{2CCCEE37-84CC-4FFB-BDD2-2EBFE568AA78}" srcOrd="0" destOrd="0" presId="urn:microsoft.com/office/officeart/2005/8/layout/vList3#3"/>
    <dgm:cxn modelId="{2BEA26D5-BC6E-4AFC-8987-3DD64140C626}" type="presOf" srcId="{FBFFE778-0DCF-453B-A022-F58D5D3AECE6}" destId="{D1769513-1D7B-4A29-A35E-728C9428A191}" srcOrd="0" destOrd="0" presId="urn:microsoft.com/office/officeart/2005/8/layout/vList3#3"/>
    <dgm:cxn modelId="{B5B99BE3-2937-418D-A7E4-F1A884C58F1F}" type="presParOf" srcId="{33AC8322-AEC8-46B4-9E61-12DF1557F4F1}" destId="{D6F864FF-5319-415F-AC5B-62154A5BA0E5}" srcOrd="0" destOrd="0" presId="urn:microsoft.com/office/officeart/2005/8/layout/vList3#3"/>
    <dgm:cxn modelId="{8D63495B-5586-4FE9-9504-3C94983E22C0}" type="presParOf" srcId="{D6F864FF-5319-415F-AC5B-62154A5BA0E5}" destId="{A06848A9-0673-48CE-9E8A-C7D28F82CB08}" srcOrd="0" destOrd="0" presId="urn:microsoft.com/office/officeart/2005/8/layout/vList3#3"/>
    <dgm:cxn modelId="{A8F591EC-60CB-4331-BE6B-9686DBABC50D}" type="presParOf" srcId="{D6F864FF-5319-415F-AC5B-62154A5BA0E5}" destId="{2CCCEE37-84CC-4FFB-BDD2-2EBFE568AA78}" srcOrd="1" destOrd="0" presId="urn:microsoft.com/office/officeart/2005/8/layout/vList3#3"/>
    <dgm:cxn modelId="{E9E6BF53-5A2E-4EFE-95DC-6D41ED1AB09D}" type="presParOf" srcId="{33AC8322-AEC8-46B4-9E61-12DF1557F4F1}" destId="{D10434F6-8F83-4F50-8320-37B73A901959}" srcOrd="1" destOrd="0" presId="urn:microsoft.com/office/officeart/2005/8/layout/vList3#3"/>
    <dgm:cxn modelId="{3A413819-8222-44C9-A0B2-2DA887AA4804}" type="presParOf" srcId="{33AC8322-AEC8-46B4-9E61-12DF1557F4F1}" destId="{A61FBF47-81C0-4B41-8CE5-0A3AFC49A911}" srcOrd="2" destOrd="0" presId="urn:microsoft.com/office/officeart/2005/8/layout/vList3#3"/>
    <dgm:cxn modelId="{91046D40-2A46-4471-AA5D-B6E669100ED4}" type="presParOf" srcId="{A61FBF47-81C0-4B41-8CE5-0A3AFC49A911}" destId="{E3C91D00-E061-4C92-90EE-7F9079521B4E}" srcOrd="0" destOrd="0" presId="urn:microsoft.com/office/officeart/2005/8/layout/vList3#3"/>
    <dgm:cxn modelId="{1DC1A652-CEB7-4E08-BDA9-744BD48C0A36}" type="presParOf" srcId="{A61FBF47-81C0-4B41-8CE5-0A3AFC49A911}" destId="{6167B104-8387-4618-A918-0C5B8BE70460}" srcOrd="1" destOrd="0" presId="urn:microsoft.com/office/officeart/2005/8/layout/vList3#3"/>
    <dgm:cxn modelId="{5870CDA0-0263-4EFA-A333-E53AE5DBCE93}" type="presParOf" srcId="{33AC8322-AEC8-46B4-9E61-12DF1557F4F1}" destId="{9EC7C1D8-43A2-44DA-A8B3-C522E6A14566}" srcOrd="3" destOrd="0" presId="urn:microsoft.com/office/officeart/2005/8/layout/vList3#3"/>
    <dgm:cxn modelId="{23351434-51F4-4D77-AF30-719AE7E92BCC}" type="presParOf" srcId="{33AC8322-AEC8-46B4-9E61-12DF1557F4F1}" destId="{7F3CFDBB-771B-4DE6-B965-21C058531919}" srcOrd="4" destOrd="0" presId="urn:microsoft.com/office/officeart/2005/8/layout/vList3#3"/>
    <dgm:cxn modelId="{73B34805-3673-4284-A1A9-47952CE5B1FF}" type="presParOf" srcId="{7F3CFDBB-771B-4DE6-B965-21C058531919}" destId="{C6FBEE0D-95DE-4531-A594-2828237A1A1C}" srcOrd="0" destOrd="0" presId="urn:microsoft.com/office/officeart/2005/8/layout/vList3#3"/>
    <dgm:cxn modelId="{236CE83F-D3A9-4B11-9B1C-C5E2C3DE7B0C}" type="presParOf" srcId="{7F3CFDBB-771B-4DE6-B965-21C058531919}" destId="{3377F370-FA76-46CC-80DD-15DEF2F3AEAC}" srcOrd="1" destOrd="0" presId="urn:microsoft.com/office/officeart/2005/8/layout/vList3#3"/>
    <dgm:cxn modelId="{84A9CBA0-0219-4B9D-9536-BABE4EFB5C2C}" type="presParOf" srcId="{33AC8322-AEC8-46B4-9E61-12DF1557F4F1}" destId="{EFA7591A-6DB5-4CD6-B485-E784A532F00E}" srcOrd="5" destOrd="0" presId="urn:microsoft.com/office/officeart/2005/8/layout/vList3#3"/>
    <dgm:cxn modelId="{87A46F8D-BE92-4BE8-8FAB-BB4DF25CEB9F}" type="presParOf" srcId="{33AC8322-AEC8-46B4-9E61-12DF1557F4F1}" destId="{1F9B520D-2CFA-48F5-9975-EB874DD6FF26}" srcOrd="6" destOrd="0" presId="urn:microsoft.com/office/officeart/2005/8/layout/vList3#3"/>
    <dgm:cxn modelId="{144B4869-2E69-442F-97FE-ACE2A666174A}" type="presParOf" srcId="{1F9B520D-2CFA-48F5-9975-EB874DD6FF26}" destId="{FE010DDC-EF4B-43AF-8661-0DE03706571B}" srcOrd="0" destOrd="0" presId="urn:microsoft.com/office/officeart/2005/8/layout/vList3#3"/>
    <dgm:cxn modelId="{BCD0AB28-8754-4402-B282-CE32ABDBD08F}" type="presParOf" srcId="{1F9B520D-2CFA-48F5-9975-EB874DD6FF26}" destId="{594877A9-8A08-40E9-9FCB-37F24340B295}" srcOrd="1" destOrd="0" presId="urn:microsoft.com/office/officeart/2005/8/layout/vList3#3"/>
    <dgm:cxn modelId="{925FA722-76E1-41BD-A805-79C9B459156D}" type="presParOf" srcId="{33AC8322-AEC8-46B4-9E61-12DF1557F4F1}" destId="{7144D58A-E1AF-4C65-8040-A807F58083C8}" srcOrd="7" destOrd="0" presId="urn:microsoft.com/office/officeart/2005/8/layout/vList3#3"/>
    <dgm:cxn modelId="{3D64AAA4-66A5-41D2-9901-D1E49F93C981}" type="presParOf" srcId="{33AC8322-AEC8-46B4-9E61-12DF1557F4F1}" destId="{8999EFA6-D691-4184-9979-6B8D98633755}" srcOrd="8" destOrd="0" presId="urn:microsoft.com/office/officeart/2005/8/layout/vList3#3"/>
    <dgm:cxn modelId="{7B263F47-EA49-44DB-8C06-145D2234EECA}" type="presParOf" srcId="{8999EFA6-D691-4184-9979-6B8D98633755}" destId="{C65667AB-79B9-4237-9263-C5DCD799A16C}" srcOrd="0" destOrd="0" presId="urn:microsoft.com/office/officeart/2005/8/layout/vList3#3"/>
    <dgm:cxn modelId="{B941FFA8-3C72-49A0-9C68-A071EB2BF8EC}" type="presParOf" srcId="{8999EFA6-D691-4184-9979-6B8D98633755}" destId="{D1769513-1D7B-4A29-A35E-728C9428A191}" srcOrd="1" destOrd="0" presId="urn:microsoft.com/office/officeart/2005/8/layout/vList3#3"/>
    <dgm:cxn modelId="{89602EEE-468A-473B-9255-0CD12F39E360}" type="presParOf" srcId="{33AC8322-AEC8-46B4-9E61-12DF1557F4F1}" destId="{12EFDDE0-96E2-4202-859F-E3BEBF11D7A5}" srcOrd="9" destOrd="0" presId="urn:microsoft.com/office/officeart/2005/8/layout/vList3#3"/>
    <dgm:cxn modelId="{1DD93D9A-91D5-4BEE-8A17-98BB21F71058}" type="presParOf" srcId="{33AC8322-AEC8-46B4-9E61-12DF1557F4F1}" destId="{3986B42E-12FF-4BD9-ADA6-73FE3C49B3DE}" srcOrd="10" destOrd="0" presId="urn:microsoft.com/office/officeart/2005/8/layout/vList3#3"/>
    <dgm:cxn modelId="{6CEC5466-6951-4AD6-9655-8A06AF2F2801}" type="presParOf" srcId="{3986B42E-12FF-4BD9-ADA6-73FE3C49B3DE}" destId="{2B6021C6-7717-432D-86DC-3024FDFA8E68}" srcOrd="0" destOrd="0" presId="urn:microsoft.com/office/officeart/2005/8/layout/vList3#3"/>
    <dgm:cxn modelId="{57B90305-79DE-45C3-AAE9-4DBA38D44EAB}" type="presParOf" srcId="{3986B42E-12FF-4BD9-ADA6-73FE3C49B3DE}" destId="{E9B61F9F-231F-4C68-8A5B-E081EECA0ED2}" srcOrd="1" destOrd="0" presId="urn:microsoft.com/office/officeart/2005/8/layout/vList3#3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4" loCatId="list" qsTypeId="urn:microsoft.com/office/officeart/2005/8/quickstyle/simple1" qsCatId="simple" csTypeId="urn:microsoft.com/office/officeart/2005/8/colors/accent5_1" csCatId="accent5" phldr="1"/>
      <dgm:spPr/>
    </dgm:pt>
    <dgm:pt modelId="{A4CAAC57-2948-4A8B-9A3E-143CB870F120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3CEC7B2-E15E-4AD3-AF6B-8F248E3F0C5D}" type="parTrans" cxnId="{18BA46DA-54DB-4D6C-8B32-035558003E29}">
      <dgm:prSet/>
      <dgm:spPr/>
      <dgm:t>
        <a:bodyPr/>
        <a:lstStyle/>
        <a:p>
          <a:endParaRPr lang="es-CO" sz="1600"/>
        </a:p>
      </dgm:t>
    </dgm:pt>
    <dgm:pt modelId="{6CBC7A9F-A821-4A88-8770-3F2F2027B4DA}" type="sibTrans" cxnId="{18BA46DA-54DB-4D6C-8B32-035558003E29}">
      <dgm:prSet/>
      <dgm:spPr/>
      <dgm:t>
        <a:bodyPr/>
        <a:lstStyle/>
        <a:p>
          <a:endParaRPr lang="es-CO" sz="1600"/>
        </a:p>
      </dgm:t>
    </dgm:pt>
    <dgm:pt modelId="{B7DA0DE8-B0F5-489A-B5F3-6506F16D6BB3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61CC22C-6D70-4D8A-A1AC-2F5624DEED98}" type="parTrans" cxnId="{D56BCA9D-0AF1-41D2-8AB4-0B4E0D5BB4C2}">
      <dgm:prSet/>
      <dgm:spPr/>
      <dgm:t>
        <a:bodyPr/>
        <a:lstStyle/>
        <a:p>
          <a:endParaRPr lang="es-CO" sz="1600"/>
        </a:p>
      </dgm:t>
    </dgm:pt>
    <dgm:pt modelId="{42AAFE18-2731-4DCC-A4D2-30DA6669292C}" type="sibTrans" cxnId="{D56BCA9D-0AF1-41D2-8AB4-0B4E0D5BB4C2}">
      <dgm:prSet/>
      <dgm:spPr/>
      <dgm:t>
        <a:bodyPr/>
        <a:lstStyle/>
        <a:p>
          <a:endParaRPr lang="es-CO" sz="1600"/>
        </a:p>
      </dgm:t>
    </dgm:pt>
    <dgm:pt modelId="{8638BDF1-7503-4C4D-9C49-1D20DEA0BB1B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3877488F-18A1-4DF6-B093-E4F2A959A4AC}" type="parTrans" cxnId="{993C94AB-6296-426A-98CC-2901416D6C14}">
      <dgm:prSet/>
      <dgm:spPr/>
      <dgm:t>
        <a:bodyPr/>
        <a:lstStyle/>
        <a:p>
          <a:endParaRPr lang="es-CO" sz="1600"/>
        </a:p>
      </dgm:t>
    </dgm:pt>
    <dgm:pt modelId="{8EFD8100-D13C-4C5D-8966-325884ECB460}" type="sibTrans" cxnId="{993C94AB-6296-426A-98CC-2901416D6C14}">
      <dgm:prSet/>
      <dgm:spPr/>
      <dgm:t>
        <a:bodyPr/>
        <a:lstStyle/>
        <a:p>
          <a:endParaRPr lang="es-CO" sz="1600"/>
        </a:p>
      </dgm:t>
    </dgm:pt>
    <dgm:pt modelId="{7F91385E-E776-4514-8ADE-C527EC5F5390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7350911-7A9A-4D41-A299-77D4F91F383C}" type="parTrans" cxnId="{08B26BCD-324A-4ABA-94C6-43217B9F94D0}">
      <dgm:prSet/>
      <dgm:spPr/>
      <dgm:t>
        <a:bodyPr/>
        <a:lstStyle/>
        <a:p>
          <a:endParaRPr lang="es-CO" sz="1600"/>
        </a:p>
      </dgm:t>
    </dgm:pt>
    <dgm:pt modelId="{62D8C9FA-AF3F-4C27-BB0A-E042E815A947}" type="sibTrans" cxnId="{08B26BCD-324A-4ABA-94C6-43217B9F94D0}">
      <dgm:prSet/>
      <dgm:spPr/>
      <dgm:t>
        <a:bodyPr/>
        <a:lstStyle/>
        <a:p>
          <a:endParaRPr lang="es-CO" sz="1600"/>
        </a:p>
      </dgm:t>
    </dgm:pt>
    <dgm:pt modelId="{8AFBA346-F076-49DF-8A94-E9E04D59A28E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A6342655-4FDE-4DE2-AB71-DD7BFEEB5D83}" type="parTrans" cxnId="{77EBC404-0F12-4B6E-AB57-72AD99BABF32}">
      <dgm:prSet/>
      <dgm:spPr/>
      <dgm:t>
        <a:bodyPr/>
        <a:lstStyle/>
        <a:p>
          <a:endParaRPr lang="es-CO" sz="1600"/>
        </a:p>
      </dgm:t>
    </dgm:pt>
    <dgm:pt modelId="{DD1056A1-F291-404A-9635-D744F2568873}" type="sibTrans" cxnId="{77EBC404-0F12-4B6E-AB57-72AD99BABF32}">
      <dgm:prSet/>
      <dgm:spPr/>
      <dgm:t>
        <a:bodyPr/>
        <a:lstStyle/>
        <a:p>
          <a:endParaRPr lang="es-CO" sz="1600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65FC4E71-C6FC-415D-AE48-2E7BB660DED7}" type="pres">
      <dgm:prSet presAssocID="{A4CAAC57-2948-4A8B-9A3E-143CB870F120}" presName="composite" presStyleCnt="0"/>
      <dgm:spPr/>
    </dgm:pt>
    <dgm:pt modelId="{D6AB906A-08BF-444F-AD94-8F4F589D9748}" type="pres">
      <dgm:prSet presAssocID="{A4CAAC57-2948-4A8B-9A3E-143CB870F120}" presName="imgShp" presStyleLbl="fgImgPlace1" presStyleIdx="0" presStyleCnt="5"/>
      <dgm:spPr/>
    </dgm:pt>
    <dgm:pt modelId="{1FDFC23A-E9FA-4EFC-95DC-F052523EAEAB}" type="pres">
      <dgm:prSet presAssocID="{A4CAAC57-2948-4A8B-9A3E-143CB870F120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85D9726-8C81-4FED-B35A-3542414A16AF}" type="pres">
      <dgm:prSet presAssocID="{6CBC7A9F-A821-4A88-8770-3F2F2027B4DA}" presName="spacing" presStyleCnt="0"/>
      <dgm:spPr/>
    </dgm:pt>
    <dgm:pt modelId="{44484ADB-A5BB-4EA3-8D4D-0F530366E32D}" type="pres">
      <dgm:prSet presAssocID="{B7DA0DE8-B0F5-489A-B5F3-6506F16D6BB3}" presName="composite" presStyleCnt="0"/>
      <dgm:spPr/>
    </dgm:pt>
    <dgm:pt modelId="{4B922227-45CE-4E2F-B288-CE179C39C995}" type="pres">
      <dgm:prSet presAssocID="{B7DA0DE8-B0F5-489A-B5F3-6506F16D6BB3}" presName="imgShp" presStyleLbl="fgImgPlace1" presStyleIdx="1" presStyleCnt="5"/>
      <dgm:spPr/>
    </dgm:pt>
    <dgm:pt modelId="{BA81C47D-A3FB-4A37-9F8B-75D10D6E8A00}" type="pres">
      <dgm:prSet presAssocID="{B7DA0DE8-B0F5-489A-B5F3-6506F16D6BB3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6926B26-96CC-440C-95B9-26348BB86E54}" type="pres">
      <dgm:prSet presAssocID="{42AAFE18-2731-4DCC-A4D2-30DA6669292C}" presName="spacing" presStyleCnt="0"/>
      <dgm:spPr/>
    </dgm:pt>
    <dgm:pt modelId="{8BBA52C9-1F2F-4FA1-B124-AB2DE3478384}" type="pres">
      <dgm:prSet presAssocID="{8638BDF1-7503-4C4D-9C49-1D20DEA0BB1B}" presName="composite" presStyleCnt="0"/>
      <dgm:spPr/>
    </dgm:pt>
    <dgm:pt modelId="{3F7AA024-1F19-4421-9CF0-A820B84FFCBF}" type="pres">
      <dgm:prSet presAssocID="{8638BDF1-7503-4C4D-9C49-1D20DEA0BB1B}" presName="imgShp" presStyleLbl="fgImgPlace1" presStyleIdx="2" presStyleCnt="5"/>
      <dgm:spPr/>
    </dgm:pt>
    <dgm:pt modelId="{415F9641-0CCC-44A1-A251-AC2E59AC5AD1}" type="pres">
      <dgm:prSet presAssocID="{8638BDF1-7503-4C4D-9C49-1D20DEA0BB1B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71FB116-F1C8-45E6-A512-9BF90567F51D}" type="pres">
      <dgm:prSet presAssocID="{8EFD8100-D13C-4C5D-8966-325884ECB460}" presName="spacing" presStyleCnt="0"/>
      <dgm:spPr/>
    </dgm:pt>
    <dgm:pt modelId="{E603B523-0895-4F46-AA5E-C571E55357A1}" type="pres">
      <dgm:prSet presAssocID="{8AFBA346-F076-49DF-8A94-E9E04D59A28E}" presName="composite" presStyleCnt="0"/>
      <dgm:spPr/>
    </dgm:pt>
    <dgm:pt modelId="{BA7EA86A-870E-48D7-9790-E8125ECB2E09}" type="pres">
      <dgm:prSet presAssocID="{8AFBA346-F076-49DF-8A94-E9E04D59A28E}" presName="imgShp" presStyleLbl="fgImgPlace1" presStyleIdx="3" presStyleCnt="5"/>
      <dgm:spPr/>
    </dgm:pt>
    <dgm:pt modelId="{F396FCAF-D882-47BB-B229-C8C8749A112D}" type="pres">
      <dgm:prSet presAssocID="{8AFBA346-F076-49DF-8A94-E9E04D59A28E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6785992-A178-46BB-9BD0-E28386018F19}" type="pres">
      <dgm:prSet presAssocID="{DD1056A1-F291-404A-9635-D744F2568873}" presName="spacing" presStyleCnt="0"/>
      <dgm:spPr/>
    </dgm:pt>
    <dgm:pt modelId="{F0608597-5960-4854-B976-49EBC13EA56D}" type="pres">
      <dgm:prSet presAssocID="{7F91385E-E776-4514-8ADE-C527EC5F5390}" presName="composite" presStyleCnt="0"/>
      <dgm:spPr/>
    </dgm:pt>
    <dgm:pt modelId="{84FEFB6A-981F-4DA3-9096-A5A1C6AD2A85}" type="pres">
      <dgm:prSet presAssocID="{7F91385E-E776-4514-8ADE-C527EC5F5390}" presName="imgShp" presStyleLbl="fgImgPlace1" presStyleIdx="4" presStyleCnt="5"/>
      <dgm:spPr/>
    </dgm:pt>
    <dgm:pt modelId="{02611F49-B841-4787-8EDC-56CB38E0980C}" type="pres">
      <dgm:prSet presAssocID="{7F91385E-E776-4514-8ADE-C527EC5F5390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CF952F6-AAE5-480C-89FC-568F3282680A}" type="presOf" srcId="{8638BDF1-7503-4C4D-9C49-1D20DEA0BB1B}" destId="{415F9641-0CCC-44A1-A251-AC2E59AC5AD1}" srcOrd="0" destOrd="0" presId="urn:microsoft.com/office/officeart/2005/8/layout/vList3#4"/>
    <dgm:cxn modelId="{B77EC9D8-9CDE-4633-BFFF-0731CAEF6662}" type="presOf" srcId="{7F91385E-E776-4514-8ADE-C527EC5F5390}" destId="{02611F49-B841-4787-8EDC-56CB38E0980C}" srcOrd="0" destOrd="0" presId="urn:microsoft.com/office/officeart/2005/8/layout/vList3#4"/>
    <dgm:cxn modelId="{AD89C5B4-0B24-44A4-8FAB-5384831AAA79}" type="presOf" srcId="{8AFBA346-F076-49DF-8A94-E9E04D59A28E}" destId="{F396FCAF-D882-47BB-B229-C8C8749A112D}" srcOrd="0" destOrd="0" presId="urn:microsoft.com/office/officeart/2005/8/layout/vList3#4"/>
    <dgm:cxn modelId="{D56BCA9D-0AF1-41D2-8AB4-0B4E0D5BB4C2}" srcId="{F6F251FE-E3B1-41D0-9AD4-59597E0F13C9}" destId="{B7DA0DE8-B0F5-489A-B5F3-6506F16D6BB3}" srcOrd="1" destOrd="0" parTransId="{E61CC22C-6D70-4D8A-A1AC-2F5624DEED98}" sibTransId="{42AAFE18-2731-4DCC-A4D2-30DA6669292C}"/>
    <dgm:cxn modelId="{993C94AB-6296-426A-98CC-2901416D6C14}" srcId="{F6F251FE-E3B1-41D0-9AD4-59597E0F13C9}" destId="{8638BDF1-7503-4C4D-9C49-1D20DEA0BB1B}" srcOrd="2" destOrd="0" parTransId="{3877488F-18A1-4DF6-B093-E4F2A959A4AC}" sibTransId="{8EFD8100-D13C-4C5D-8966-325884ECB460}"/>
    <dgm:cxn modelId="{08B26BCD-324A-4ABA-94C6-43217B9F94D0}" srcId="{F6F251FE-E3B1-41D0-9AD4-59597E0F13C9}" destId="{7F91385E-E776-4514-8ADE-C527EC5F5390}" srcOrd="4" destOrd="0" parTransId="{E7350911-7A9A-4D41-A299-77D4F91F383C}" sibTransId="{62D8C9FA-AF3F-4C27-BB0A-E042E815A947}"/>
    <dgm:cxn modelId="{18BA46DA-54DB-4D6C-8B32-035558003E29}" srcId="{F6F251FE-E3B1-41D0-9AD4-59597E0F13C9}" destId="{A4CAAC57-2948-4A8B-9A3E-143CB870F120}" srcOrd="0" destOrd="0" parTransId="{E3CEC7B2-E15E-4AD3-AF6B-8F248E3F0C5D}" sibTransId="{6CBC7A9F-A821-4A88-8770-3F2F2027B4DA}"/>
    <dgm:cxn modelId="{77EBC404-0F12-4B6E-AB57-72AD99BABF32}" srcId="{F6F251FE-E3B1-41D0-9AD4-59597E0F13C9}" destId="{8AFBA346-F076-49DF-8A94-E9E04D59A28E}" srcOrd="3" destOrd="0" parTransId="{A6342655-4FDE-4DE2-AB71-DD7BFEEB5D83}" sibTransId="{DD1056A1-F291-404A-9635-D744F2568873}"/>
    <dgm:cxn modelId="{EC736205-50DF-474C-B72C-9FDF29554DAE}" type="presOf" srcId="{A4CAAC57-2948-4A8B-9A3E-143CB870F120}" destId="{1FDFC23A-E9FA-4EFC-95DC-F052523EAEAB}" srcOrd="0" destOrd="0" presId="urn:microsoft.com/office/officeart/2005/8/layout/vList3#4"/>
    <dgm:cxn modelId="{531FE5C9-4C42-4CD7-BD1F-69B10ADFD514}" type="presOf" srcId="{F6F251FE-E3B1-41D0-9AD4-59597E0F13C9}" destId="{33AC8322-AEC8-46B4-9E61-12DF1557F4F1}" srcOrd="0" destOrd="0" presId="urn:microsoft.com/office/officeart/2005/8/layout/vList3#4"/>
    <dgm:cxn modelId="{11C9BB87-A715-4FD5-A751-91A4AF1EC0B9}" type="presOf" srcId="{B7DA0DE8-B0F5-489A-B5F3-6506F16D6BB3}" destId="{BA81C47D-A3FB-4A37-9F8B-75D10D6E8A00}" srcOrd="0" destOrd="0" presId="urn:microsoft.com/office/officeart/2005/8/layout/vList3#4"/>
    <dgm:cxn modelId="{AEA98EED-6EB8-40C2-89F1-AC3AF6C65A33}" type="presParOf" srcId="{33AC8322-AEC8-46B4-9E61-12DF1557F4F1}" destId="{65FC4E71-C6FC-415D-AE48-2E7BB660DED7}" srcOrd="0" destOrd="0" presId="urn:microsoft.com/office/officeart/2005/8/layout/vList3#4"/>
    <dgm:cxn modelId="{A07996E2-0513-4525-A277-F9C5A236154B}" type="presParOf" srcId="{65FC4E71-C6FC-415D-AE48-2E7BB660DED7}" destId="{D6AB906A-08BF-444F-AD94-8F4F589D9748}" srcOrd="0" destOrd="0" presId="urn:microsoft.com/office/officeart/2005/8/layout/vList3#4"/>
    <dgm:cxn modelId="{C3B729FD-AD2A-4EDA-80E7-E8ECBF13B408}" type="presParOf" srcId="{65FC4E71-C6FC-415D-AE48-2E7BB660DED7}" destId="{1FDFC23A-E9FA-4EFC-95DC-F052523EAEAB}" srcOrd="1" destOrd="0" presId="urn:microsoft.com/office/officeart/2005/8/layout/vList3#4"/>
    <dgm:cxn modelId="{4CF3BCD7-2D20-43CE-B4FD-2056D6F8942F}" type="presParOf" srcId="{33AC8322-AEC8-46B4-9E61-12DF1557F4F1}" destId="{E85D9726-8C81-4FED-B35A-3542414A16AF}" srcOrd="1" destOrd="0" presId="urn:microsoft.com/office/officeart/2005/8/layout/vList3#4"/>
    <dgm:cxn modelId="{2B4E2962-6F8C-47E9-83F1-1CDDA943CABA}" type="presParOf" srcId="{33AC8322-AEC8-46B4-9E61-12DF1557F4F1}" destId="{44484ADB-A5BB-4EA3-8D4D-0F530366E32D}" srcOrd="2" destOrd="0" presId="urn:microsoft.com/office/officeart/2005/8/layout/vList3#4"/>
    <dgm:cxn modelId="{BD64447A-17AE-41EB-937D-5916200C4D65}" type="presParOf" srcId="{44484ADB-A5BB-4EA3-8D4D-0F530366E32D}" destId="{4B922227-45CE-4E2F-B288-CE179C39C995}" srcOrd="0" destOrd="0" presId="urn:microsoft.com/office/officeart/2005/8/layout/vList3#4"/>
    <dgm:cxn modelId="{FAA8DD56-DC00-4698-A136-03330E121F7F}" type="presParOf" srcId="{44484ADB-A5BB-4EA3-8D4D-0F530366E32D}" destId="{BA81C47D-A3FB-4A37-9F8B-75D10D6E8A00}" srcOrd="1" destOrd="0" presId="urn:microsoft.com/office/officeart/2005/8/layout/vList3#4"/>
    <dgm:cxn modelId="{04FD6DDA-ABB6-43AA-913B-8DF68358FC88}" type="presParOf" srcId="{33AC8322-AEC8-46B4-9E61-12DF1557F4F1}" destId="{16926B26-96CC-440C-95B9-26348BB86E54}" srcOrd="3" destOrd="0" presId="urn:microsoft.com/office/officeart/2005/8/layout/vList3#4"/>
    <dgm:cxn modelId="{2293AA76-69AA-4082-BD23-E61220CE3060}" type="presParOf" srcId="{33AC8322-AEC8-46B4-9E61-12DF1557F4F1}" destId="{8BBA52C9-1F2F-4FA1-B124-AB2DE3478384}" srcOrd="4" destOrd="0" presId="urn:microsoft.com/office/officeart/2005/8/layout/vList3#4"/>
    <dgm:cxn modelId="{B64B9214-FBA2-4830-9ED5-59F027BEA34B}" type="presParOf" srcId="{8BBA52C9-1F2F-4FA1-B124-AB2DE3478384}" destId="{3F7AA024-1F19-4421-9CF0-A820B84FFCBF}" srcOrd="0" destOrd="0" presId="urn:microsoft.com/office/officeart/2005/8/layout/vList3#4"/>
    <dgm:cxn modelId="{12401795-1F9E-4711-9DB2-4225AEE1D01A}" type="presParOf" srcId="{8BBA52C9-1F2F-4FA1-B124-AB2DE3478384}" destId="{415F9641-0CCC-44A1-A251-AC2E59AC5AD1}" srcOrd="1" destOrd="0" presId="urn:microsoft.com/office/officeart/2005/8/layout/vList3#4"/>
    <dgm:cxn modelId="{F735F9E0-C033-4DC5-9517-E559552B03A5}" type="presParOf" srcId="{33AC8322-AEC8-46B4-9E61-12DF1557F4F1}" destId="{E71FB116-F1C8-45E6-A512-9BF90567F51D}" srcOrd="5" destOrd="0" presId="urn:microsoft.com/office/officeart/2005/8/layout/vList3#4"/>
    <dgm:cxn modelId="{4C1697AC-BC48-418A-B002-D6B6ED5C96FF}" type="presParOf" srcId="{33AC8322-AEC8-46B4-9E61-12DF1557F4F1}" destId="{E603B523-0895-4F46-AA5E-C571E55357A1}" srcOrd="6" destOrd="0" presId="urn:microsoft.com/office/officeart/2005/8/layout/vList3#4"/>
    <dgm:cxn modelId="{463CC9B5-E876-48B6-8C65-2C3B2F65B9CA}" type="presParOf" srcId="{E603B523-0895-4F46-AA5E-C571E55357A1}" destId="{BA7EA86A-870E-48D7-9790-E8125ECB2E09}" srcOrd="0" destOrd="0" presId="urn:microsoft.com/office/officeart/2005/8/layout/vList3#4"/>
    <dgm:cxn modelId="{1A6F60E6-3FBE-4D8C-9B3E-BDAB3C21DF62}" type="presParOf" srcId="{E603B523-0895-4F46-AA5E-C571E55357A1}" destId="{F396FCAF-D882-47BB-B229-C8C8749A112D}" srcOrd="1" destOrd="0" presId="urn:microsoft.com/office/officeart/2005/8/layout/vList3#4"/>
    <dgm:cxn modelId="{5DFD0AFA-BC18-49E5-A4D3-C03799945252}" type="presParOf" srcId="{33AC8322-AEC8-46B4-9E61-12DF1557F4F1}" destId="{26785992-A178-46BB-9BD0-E28386018F19}" srcOrd="7" destOrd="0" presId="urn:microsoft.com/office/officeart/2005/8/layout/vList3#4"/>
    <dgm:cxn modelId="{61015FDF-297C-4535-95B0-255587ABEA4E}" type="presParOf" srcId="{33AC8322-AEC8-46B4-9E61-12DF1557F4F1}" destId="{F0608597-5960-4854-B976-49EBC13EA56D}" srcOrd="8" destOrd="0" presId="urn:microsoft.com/office/officeart/2005/8/layout/vList3#4"/>
    <dgm:cxn modelId="{68685B70-AD32-4356-88E8-A6B88CF10C79}" type="presParOf" srcId="{F0608597-5960-4854-B976-49EBC13EA56D}" destId="{84FEFB6A-981F-4DA3-9096-A5A1C6AD2A85}" srcOrd="0" destOrd="0" presId="urn:microsoft.com/office/officeart/2005/8/layout/vList3#4"/>
    <dgm:cxn modelId="{F9BFF945-9488-40BD-BE64-9829CA533696}" type="presParOf" srcId="{F0608597-5960-4854-B976-49EBC13EA56D}" destId="{02611F49-B841-4787-8EDC-56CB38E0980C}" srcOrd="1" destOrd="0" presId="urn:microsoft.com/office/officeart/2005/8/layout/vList3#4"/>
  </dgm:cxnLst>
  <dgm:bg>
    <a:noFill/>
  </dgm:bg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E939570-1146-4895-BAC3-BC5BB9DE7FD9}" type="doc">
      <dgm:prSet loTypeId="urn:microsoft.com/office/officeart/2005/8/layout/venn2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F9CC1009-2C30-4C7C-88A5-09B41F54A252}">
      <dgm:prSet phldrT="[Texto]" custT="1"/>
      <dgm:spPr/>
      <dgm:t>
        <a:bodyPr/>
        <a:lstStyle/>
        <a:p>
          <a:r>
            <a:rPr lang="es-CO" sz="1600" b="1" dirty="0" smtClean="0">
              <a:solidFill>
                <a:srgbClr val="C00000"/>
              </a:solidFill>
            </a:rPr>
            <a:t>CONEFORP</a:t>
          </a:r>
          <a:endParaRPr lang="es-CO" sz="1600" b="1" dirty="0">
            <a:solidFill>
              <a:srgbClr val="C00000"/>
            </a:solidFill>
          </a:endParaRPr>
        </a:p>
      </dgm:t>
    </dgm:pt>
    <dgm:pt modelId="{B61B08CA-0A69-451C-BA37-308F9139E73B}" type="parTrans" cxnId="{3BE0C7B5-F987-44EB-8B90-130C2E90C236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A50D32D3-BC61-45EC-9D94-2876B0CE132B}" type="sibTrans" cxnId="{3BE0C7B5-F987-44EB-8B90-130C2E90C236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3B16A65C-A293-45E5-AE9A-B3F13A941C11}">
      <dgm:prSet phldrT="[Texto]" custT="1"/>
      <dgm:spPr/>
      <dgm:t>
        <a:bodyPr/>
        <a:lstStyle/>
        <a:p>
          <a:r>
            <a:rPr lang="es-CO" sz="1400" b="1" dirty="0" smtClean="0">
              <a:solidFill>
                <a:srgbClr val="C00000"/>
              </a:solidFill>
            </a:rPr>
            <a:t>CONACET Banco de Pares (SEC)</a:t>
          </a:r>
          <a:endParaRPr lang="es-CO" sz="1400" b="1" dirty="0">
            <a:solidFill>
              <a:srgbClr val="C00000"/>
            </a:solidFill>
          </a:endParaRPr>
        </a:p>
      </dgm:t>
    </dgm:pt>
    <dgm:pt modelId="{E43368ED-4C29-471D-8B9C-1DAFE9ACFD76}" type="parTrans" cxnId="{99A4C257-A256-494A-A913-92C42C9915B4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5D2F0C93-BD23-45F8-BA35-42CD5C769487}" type="sibTrans" cxnId="{99A4C257-A256-494A-A913-92C42C9915B4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96385D4C-E34D-4057-8FB1-C150BD6A79CD}">
      <dgm:prSet phldrT="[Texto]" custT="1"/>
      <dgm:spPr/>
      <dgm:t>
        <a:bodyPr/>
        <a:lstStyle/>
        <a:p>
          <a:r>
            <a:rPr lang="es-CO" sz="2000" b="1" dirty="0" smtClean="0">
              <a:solidFill>
                <a:srgbClr val="C00000"/>
              </a:solidFill>
            </a:rPr>
            <a:t>SACET</a:t>
          </a:r>
          <a:endParaRPr lang="es-CO" sz="2000" b="1" dirty="0">
            <a:solidFill>
              <a:srgbClr val="C00000"/>
            </a:solidFill>
          </a:endParaRPr>
        </a:p>
      </dgm:t>
    </dgm:pt>
    <dgm:pt modelId="{37535E16-513F-4306-B2FC-0C28F9CD6A3F}" type="parTrans" cxnId="{2AAB651D-E89A-4465-BE5E-498C6CD6B865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138995FF-27F9-4B6C-9A51-FC37B295EDA3}" type="sibTrans" cxnId="{2AAB651D-E89A-4465-BE5E-498C6CD6B865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6B3A618A-B571-4392-BD9F-1DAA3B284CBF}">
      <dgm:prSet phldrT="[Texto]" custT="1"/>
      <dgm:spPr/>
      <dgm:t>
        <a:bodyPr/>
        <a:lstStyle/>
        <a:p>
          <a:r>
            <a:rPr lang="es-CO" sz="2400" b="1" dirty="0" smtClean="0">
              <a:solidFill>
                <a:srgbClr val="000099"/>
              </a:solidFill>
            </a:rPr>
            <a:t>SIET</a:t>
          </a:r>
          <a:endParaRPr lang="es-CO" sz="2400" b="1" dirty="0">
            <a:solidFill>
              <a:srgbClr val="000099"/>
            </a:solidFill>
          </a:endParaRPr>
        </a:p>
      </dgm:t>
    </dgm:pt>
    <dgm:pt modelId="{CE1F62CA-D068-4266-A055-F7C28DDE5616}" type="parTrans" cxnId="{EE999D61-BCE6-464F-9526-F96A24E25D87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43F579A0-4A32-40EB-A5C2-04DC8D76EB1F}" type="sibTrans" cxnId="{EE999D61-BCE6-464F-9526-F96A24E25D87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4B760F7F-1DF9-4FA8-93F0-AC3D119BECC1}">
      <dgm:prSet phldrT="[Texto]" custT="1"/>
      <dgm:spPr/>
      <dgm:t>
        <a:bodyPr/>
        <a:lstStyle/>
        <a:p>
          <a:r>
            <a:rPr lang="es-CO" sz="1600" b="1" dirty="0" smtClean="0">
              <a:solidFill>
                <a:srgbClr val="C00000"/>
              </a:solidFill>
            </a:rPr>
            <a:t>SCAFT</a:t>
          </a:r>
          <a:endParaRPr lang="es-CO" sz="1600" b="1" dirty="0">
            <a:solidFill>
              <a:srgbClr val="C00000"/>
            </a:solidFill>
          </a:endParaRPr>
        </a:p>
      </dgm:t>
    </dgm:pt>
    <dgm:pt modelId="{AA722CB3-BA91-4760-9BFC-CF5CAC9351E2}" type="parTrans" cxnId="{8AD35B24-35DC-48E8-905C-020E05F8E94E}">
      <dgm:prSet/>
      <dgm:spPr/>
      <dgm:t>
        <a:bodyPr/>
        <a:lstStyle/>
        <a:p>
          <a:endParaRPr lang="es-CO"/>
        </a:p>
      </dgm:t>
    </dgm:pt>
    <dgm:pt modelId="{5FD605F9-77A7-4726-B253-42B213E1F2BA}" type="sibTrans" cxnId="{8AD35B24-35DC-48E8-905C-020E05F8E94E}">
      <dgm:prSet/>
      <dgm:spPr/>
      <dgm:t>
        <a:bodyPr/>
        <a:lstStyle/>
        <a:p>
          <a:endParaRPr lang="es-CO"/>
        </a:p>
      </dgm:t>
    </dgm:pt>
    <dgm:pt modelId="{05F91DF8-971D-4104-966B-25DF4F644827}" type="pres">
      <dgm:prSet presAssocID="{7E939570-1146-4895-BAC3-BC5BB9DE7FD9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9DC94F95-BA70-4726-AB6E-B09F7305B163}" type="pres">
      <dgm:prSet presAssocID="{7E939570-1146-4895-BAC3-BC5BB9DE7FD9}" presName="comp1" presStyleCnt="0"/>
      <dgm:spPr/>
    </dgm:pt>
    <dgm:pt modelId="{FCBCC9CB-CCFD-4ADA-A2DC-5377C82B0C7B}" type="pres">
      <dgm:prSet presAssocID="{7E939570-1146-4895-BAC3-BC5BB9DE7FD9}" presName="circle1" presStyleLbl="node1" presStyleIdx="0" presStyleCnt="5" custLinFactNeighborX="-916" custLinFactNeighborY="724"/>
      <dgm:spPr/>
      <dgm:t>
        <a:bodyPr/>
        <a:lstStyle/>
        <a:p>
          <a:endParaRPr lang="es-CO"/>
        </a:p>
      </dgm:t>
    </dgm:pt>
    <dgm:pt modelId="{BACDC6E5-1998-40AD-B380-C98895DA37FA}" type="pres">
      <dgm:prSet presAssocID="{7E939570-1146-4895-BAC3-BC5BB9DE7FD9}" presName="c1text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C30DF9E-492B-4EF6-9EF3-2A834BBF53DF}" type="pres">
      <dgm:prSet presAssocID="{7E939570-1146-4895-BAC3-BC5BB9DE7FD9}" presName="comp2" presStyleCnt="0"/>
      <dgm:spPr/>
    </dgm:pt>
    <dgm:pt modelId="{A02FAB29-46D4-4715-8B5F-3A93EB3B188B}" type="pres">
      <dgm:prSet presAssocID="{7E939570-1146-4895-BAC3-BC5BB9DE7FD9}" presName="circle2" presStyleLbl="node1" presStyleIdx="1" presStyleCnt="5"/>
      <dgm:spPr/>
      <dgm:t>
        <a:bodyPr/>
        <a:lstStyle/>
        <a:p>
          <a:endParaRPr lang="es-CO"/>
        </a:p>
      </dgm:t>
    </dgm:pt>
    <dgm:pt modelId="{3E6D0D20-14FF-4F6C-9FF6-B16EB646C57D}" type="pres">
      <dgm:prSet presAssocID="{7E939570-1146-4895-BAC3-BC5BB9DE7FD9}" presName="c2text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BA36F8B-637F-41F9-9D4D-A9ABF0A84F23}" type="pres">
      <dgm:prSet presAssocID="{7E939570-1146-4895-BAC3-BC5BB9DE7FD9}" presName="comp3" presStyleCnt="0"/>
      <dgm:spPr/>
    </dgm:pt>
    <dgm:pt modelId="{38DF4771-44E3-434C-8D28-39E7A86F6222}" type="pres">
      <dgm:prSet presAssocID="{7E939570-1146-4895-BAC3-BC5BB9DE7FD9}" presName="circle3" presStyleLbl="node1" presStyleIdx="2" presStyleCnt="5"/>
      <dgm:spPr/>
      <dgm:t>
        <a:bodyPr/>
        <a:lstStyle/>
        <a:p>
          <a:endParaRPr lang="es-CO"/>
        </a:p>
      </dgm:t>
    </dgm:pt>
    <dgm:pt modelId="{1C50D6A0-745C-497B-8BB5-FC40650C5D05}" type="pres">
      <dgm:prSet presAssocID="{7E939570-1146-4895-BAC3-BC5BB9DE7FD9}" presName="c3text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493F1E3-09E7-47D2-A074-90DEE3059461}" type="pres">
      <dgm:prSet presAssocID="{7E939570-1146-4895-BAC3-BC5BB9DE7FD9}" presName="comp4" presStyleCnt="0"/>
      <dgm:spPr/>
    </dgm:pt>
    <dgm:pt modelId="{6EDA969A-B36D-46E6-8672-EE8B61D1564D}" type="pres">
      <dgm:prSet presAssocID="{7E939570-1146-4895-BAC3-BC5BB9DE7FD9}" presName="circle4" presStyleLbl="node1" presStyleIdx="3" presStyleCnt="5" custLinFactNeighborX="686" custLinFactNeighborY="52"/>
      <dgm:spPr/>
      <dgm:t>
        <a:bodyPr/>
        <a:lstStyle/>
        <a:p>
          <a:endParaRPr lang="es-CO"/>
        </a:p>
      </dgm:t>
    </dgm:pt>
    <dgm:pt modelId="{9938B3CB-C233-4C71-A6C0-6FD186458264}" type="pres">
      <dgm:prSet presAssocID="{7E939570-1146-4895-BAC3-BC5BB9DE7FD9}" presName="c4text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FC566F6-EB6C-420C-899A-C3FBB64797F7}" type="pres">
      <dgm:prSet presAssocID="{7E939570-1146-4895-BAC3-BC5BB9DE7FD9}" presName="comp5" presStyleCnt="0"/>
      <dgm:spPr/>
    </dgm:pt>
    <dgm:pt modelId="{2295F18A-1529-47C8-BA3D-5DDEDCADB3B4}" type="pres">
      <dgm:prSet presAssocID="{7E939570-1146-4895-BAC3-BC5BB9DE7FD9}" presName="circle5" presStyleLbl="node1" presStyleIdx="4" presStyleCnt="5"/>
      <dgm:spPr/>
      <dgm:t>
        <a:bodyPr/>
        <a:lstStyle/>
        <a:p>
          <a:endParaRPr lang="es-CO"/>
        </a:p>
      </dgm:t>
    </dgm:pt>
    <dgm:pt modelId="{92890F71-DB36-4A2B-B561-98FFBCC1741B}" type="pres">
      <dgm:prSet presAssocID="{7E939570-1146-4895-BAC3-BC5BB9DE7FD9}" presName="c5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2F6B981A-7BB9-4CC0-808F-E60955F64B05}" type="presOf" srcId="{4B760F7F-1DF9-4FA8-93F0-AC3D119BECC1}" destId="{A02FAB29-46D4-4715-8B5F-3A93EB3B188B}" srcOrd="0" destOrd="0" presId="urn:microsoft.com/office/officeart/2005/8/layout/venn2"/>
    <dgm:cxn modelId="{94A0760A-7D24-4B05-A2A3-BC8EDC275EBC}" type="presOf" srcId="{6B3A618A-B571-4392-BD9F-1DAA3B284CBF}" destId="{92890F71-DB36-4A2B-B561-98FFBCC1741B}" srcOrd="1" destOrd="0" presId="urn:microsoft.com/office/officeart/2005/8/layout/venn2"/>
    <dgm:cxn modelId="{0E7B5C32-7A81-4F7D-AFEB-A236978F320E}" type="presOf" srcId="{3B16A65C-A293-45E5-AE9A-B3F13A941C11}" destId="{38DF4771-44E3-434C-8D28-39E7A86F6222}" srcOrd="0" destOrd="0" presId="urn:microsoft.com/office/officeart/2005/8/layout/venn2"/>
    <dgm:cxn modelId="{99A4C257-A256-494A-A913-92C42C9915B4}" srcId="{7E939570-1146-4895-BAC3-BC5BB9DE7FD9}" destId="{3B16A65C-A293-45E5-AE9A-B3F13A941C11}" srcOrd="2" destOrd="0" parTransId="{E43368ED-4C29-471D-8B9C-1DAFE9ACFD76}" sibTransId="{5D2F0C93-BD23-45F8-BA35-42CD5C769487}"/>
    <dgm:cxn modelId="{26E15710-01DD-426F-AED3-5C8CC5A6C057}" type="presOf" srcId="{3B16A65C-A293-45E5-AE9A-B3F13A941C11}" destId="{1C50D6A0-745C-497B-8BB5-FC40650C5D05}" srcOrd="1" destOrd="0" presId="urn:microsoft.com/office/officeart/2005/8/layout/venn2"/>
    <dgm:cxn modelId="{3BE0C7B5-F987-44EB-8B90-130C2E90C236}" srcId="{7E939570-1146-4895-BAC3-BC5BB9DE7FD9}" destId="{F9CC1009-2C30-4C7C-88A5-09B41F54A252}" srcOrd="0" destOrd="0" parTransId="{B61B08CA-0A69-451C-BA37-308F9139E73B}" sibTransId="{A50D32D3-BC61-45EC-9D94-2876B0CE132B}"/>
    <dgm:cxn modelId="{E2B2679F-9F78-4D60-B09E-9B633931B761}" type="presOf" srcId="{4B760F7F-1DF9-4FA8-93F0-AC3D119BECC1}" destId="{3E6D0D20-14FF-4F6C-9FF6-B16EB646C57D}" srcOrd="1" destOrd="0" presId="urn:microsoft.com/office/officeart/2005/8/layout/venn2"/>
    <dgm:cxn modelId="{83E91F10-3154-4ED7-B15C-9A06BA838ED5}" type="presOf" srcId="{6B3A618A-B571-4392-BD9F-1DAA3B284CBF}" destId="{2295F18A-1529-47C8-BA3D-5DDEDCADB3B4}" srcOrd="0" destOrd="0" presId="urn:microsoft.com/office/officeart/2005/8/layout/venn2"/>
    <dgm:cxn modelId="{8AD35B24-35DC-48E8-905C-020E05F8E94E}" srcId="{7E939570-1146-4895-BAC3-BC5BB9DE7FD9}" destId="{4B760F7F-1DF9-4FA8-93F0-AC3D119BECC1}" srcOrd="1" destOrd="0" parTransId="{AA722CB3-BA91-4760-9BFC-CF5CAC9351E2}" sibTransId="{5FD605F9-77A7-4726-B253-42B213E1F2BA}"/>
    <dgm:cxn modelId="{A0C20666-3D91-40D4-A5D9-E82378F75377}" type="presOf" srcId="{96385D4C-E34D-4057-8FB1-C150BD6A79CD}" destId="{9938B3CB-C233-4C71-A6C0-6FD186458264}" srcOrd="1" destOrd="0" presId="urn:microsoft.com/office/officeart/2005/8/layout/venn2"/>
    <dgm:cxn modelId="{B8676A70-0693-4AE7-94EA-ACD4C43C7FF4}" type="presOf" srcId="{F9CC1009-2C30-4C7C-88A5-09B41F54A252}" destId="{BACDC6E5-1998-40AD-B380-C98895DA37FA}" srcOrd="1" destOrd="0" presId="urn:microsoft.com/office/officeart/2005/8/layout/venn2"/>
    <dgm:cxn modelId="{0E86BE28-7674-4D27-9DE3-64FEF3D17E0C}" type="presOf" srcId="{7E939570-1146-4895-BAC3-BC5BB9DE7FD9}" destId="{05F91DF8-971D-4104-966B-25DF4F644827}" srcOrd="0" destOrd="0" presId="urn:microsoft.com/office/officeart/2005/8/layout/venn2"/>
    <dgm:cxn modelId="{ED9F306F-66E7-449B-832A-DEF4A1AB0857}" type="presOf" srcId="{96385D4C-E34D-4057-8FB1-C150BD6A79CD}" destId="{6EDA969A-B36D-46E6-8672-EE8B61D1564D}" srcOrd="0" destOrd="0" presId="urn:microsoft.com/office/officeart/2005/8/layout/venn2"/>
    <dgm:cxn modelId="{EE999D61-BCE6-464F-9526-F96A24E25D87}" srcId="{7E939570-1146-4895-BAC3-BC5BB9DE7FD9}" destId="{6B3A618A-B571-4392-BD9F-1DAA3B284CBF}" srcOrd="4" destOrd="0" parTransId="{CE1F62CA-D068-4266-A055-F7C28DDE5616}" sibTransId="{43F579A0-4A32-40EB-A5C2-04DC8D76EB1F}"/>
    <dgm:cxn modelId="{2AAB651D-E89A-4465-BE5E-498C6CD6B865}" srcId="{7E939570-1146-4895-BAC3-BC5BB9DE7FD9}" destId="{96385D4C-E34D-4057-8FB1-C150BD6A79CD}" srcOrd="3" destOrd="0" parTransId="{37535E16-513F-4306-B2FC-0C28F9CD6A3F}" sibTransId="{138995FF-27F9-4B6C-9A51-FC37B295EDA3}"/>
    <dgm:cxn modelId="{E5EB50C4-6B82-4123-8F21-F598D605F145}" type="presOf" srcId="{F9CC1009-2C30-4C7C-88A5-09B41F54A252}" destId="{FCBCC9CB-CCFD-4ADA-A2DC-5377C82B0C7B}" srcOrd="0" destOrd="0" presId="urn:microsoft.com/office/officeart/2005/8/layout/venn2"/>
    <dgm:cxn modelId="{979B5A33-5AF7-4B9D-93D5-6DDBB794F0C9}" type="presParOf" srcId="{05F91DF8-971D-4104-966B-25DF4F644827}" destId="{9DC94F95-BA70-4726-AB6E-B09F7305B163}" srcOrd="0" destOrd="0" presId="urn:microsoft.com/office/officeart/2005/8/layout/venn2"/>
    <dgm:cxn modelId="{4DCB56DA-8238-4ADE-8AAE-1B2534A56CEE}" type="presParOf" srcId="{9DC94F95-BA70-4726-AB6E-B09F7305B163}" destId="{FCBCC9CB-CCFD-4ADA-A2DC-5377C82B0C7B}" srcOrd="0" destOrd="0" presId="urn:microsoft.com/office/officeart/2005/8/layout/venn2"/>
    <dgm:cxn modelId="{71EEE35B-7473-4991-8C65-F09CFBA0EC83}" type="presParOf" srcId="{9DC94F95-BA70-4726-AB6E-B09F7305B163}" destId="{BACDC6E5-1998-40AD-B380-C98895DA37FA}" srcOrd="1" destOrd="0" presId="urn:microsoft.com/office/officeart/2005/8/layout/venn2"/>
    <dgm:cxn modelId="{18B92E1F-CA42-49CF-AC08-903A60B13A1E}" type="presParOf" srcId="{05F91DF8-971D-4104-966B-25DF4F644827}" destId="{6C30DF9E-492B-4EF6-9EF3-2A834BBF53DF}" srcOrd="1" destOrd="0" presId="urn:microsoft.com/office/officeart/2005/8/layout/venn2"/>
    <dgm:cxn modelId="{3C4D3C09-EDEA-4D89-8734-3ADD35286A67}" type="presParOf" srcId="{6C30DF9E-492B-4EF6-9EF3-2A834BBF53DF}" destId="{A02FAB29-46D4-4715-8B5F-3A93EB3B188B}" srcOrd="0" destOrd="0" presId="urn:microsoft.com/office/officeart/2005/8/layout/venn2"/>
    <dgm:cxn modelId="{79E70EBA-74D8-44EE-A5C4-B662DCC30C34}" type="presParOf" srcId="{6C30DF9E-492B-4EF6-9EF3-2A834BBF53DF}" destId="{3E6D0D20-14FF-4F6C-9FF6-B16EB646C57D}" srcOrd="1" destOrd="0" presId="urn:microsoft.com/office/officeart/2005/8/layout/venn2"/>
    <dgm:cxn modelId="{41E407F7-7DDC-4B1B-B68F-165ED7A58942}" type="presParOf" srcId="{05F91DF8-971D-4104-966B-25DF4F644827}" destId="{7BA36F8B-637F-41F9-9D4D-A9ABF0A84F23}" srcOrd="2" destOrd="0" presId="urn:microsoft.com/office/officeart/2005/8/layout/venn2"/>
    <dgm:cxn modelId="{12D10E09-3150-4509-A2E2-3D58285E0841}" type="presParOf" srcId="{7BA36F8B-637F-41F9-9D4D-A9ABF0A84F23}" destId="{38DF4771-44E3-434C-8D28-39E7A86F6222}" srcOrd="0" destOrd="0" presId="urn:microsoft.com/office/officeart/2005/8/layout/venn2"/>
    <dgm:cxn modelId="{6C92D465-CAAE-4997-89E5-3FBC69D03AFE}" type="presParOf" srcId="{7BA36F8B-637F-41F9-9D4D-A9ABF0A84F23}" destId="{1C50D6A0-745C-497B-8BB5-FC40650C5D05}" srcOrd="1" destOrd="0" presId="urn:microsoft.com/office/officeart/2005/8/layout/venn2"/>
    <dgm:cxn modelId="{E5B29E75-DE57-4B59-90B9-D62F42702CEF}" type="presParOf" srcId="{05F91DF8-971D-4104-966B-25DF4F644827}" destId="{4493F1E3-09E7-47D2-A074-90DEE3059461}" srcOrd="3" destOrd="0" presId="urn:microsoft.com/office/officeart/2005/8/layout/venn2"/>
    <dgm:cxn modelId="{14B8F1C9-FE8B-4769-8D02-0D22CEC7E0E3}" type="presParOf" srcId="{4493F1E3-09E7-47D2-A074-90DEE3059461}" destId="{6EDA969A-B36D-46E6-8672-EE8B61D1564D}" srcOrd="0" destOrd="0" presId="urn:microsoft.com/office/officeart/2005/8/layout/venn2"/>
    <dgm:cxn modelId="{CB5AD615-8314-4CF9-AED8-6755AD7A996C}" type="presParOf" srcId="{4493F1E3-09E7-47D2-A074-90DEE3059461}" destId="{9938B3CB-C233-4C71-A6C0-6FD186458264}" srcOrd="1" destOrd="0" presId="urn:microsoft.com/office/officeart/2005/8/layout/venn2"/>
    <dgm:cxn modelId="{11750FEB-DC79-4BFD-AD23-807DEF9915A4}" type="presParOf" srcId="{05F91DF8-971D-4104-966B-25DF4F644827}" destId="{DFC566F6-EB6C-420C-899A-C3FBB64797F7}" srcOrd="4" destOrd="0" presId="urn:microsoft.com/office/officeart/2005/8/layout/venn2"/>
    <dgm:cxn modelId="{55C8A722-D53F-4DD3-996F-416D87E8B7EA}" type="presParOf" srcId="{DFC566F6-EB6C-420C-899A-C3FBB64797F7}" destId="{2295F18A-1529-47C8-BA3D-5DDEDCADB3B4}" srcOrd="0" destOrd="0" presId="urn:microsoft.com/office/officeart/2005/8/layout/venn2"/>
    <dgm:cxn modelId="{BAD7E4F2-4BC6-419B-9475-789C0B74F52E}" type="presParOf" srcId="{DFC566F6-EB6C-420C-899A-C3FBB64797F7}" destId="{92890F71-DB36-4A2B-B561-98FFBCC1741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01EC8ED-8B85-4717-87C2-71DC404B135B}" type="doc">
      <dgm:prSet loTypeId="urn:microsoft.com/office/officeart/2005/8/layout/arrow2" loCatId="process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7210DE32-2DC4-4460-AF79-5069F1EDAAC5}">
      <dgm:prSet phldrT="[Texto]" custT="1"/>
      <dgm:spPr/>
      <dgm:t>
        <a:bodyPr/>
        <a:lstStyle/>
        <a:p>
          <a:pPr algn="ctr"/>
          <a:r>
            <a:rPr lang="es-CO" sz="1400" b="1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Lengua extranjera e internacionalización fortalecidos</a:t>
          </a:r>
          <a:endParaRPr lang="es-CO" sz="1400" b="1" dirty="0">
            <a:solidFill>
              <a:schemeClr val="tx1"/>
            </a:solidFill>
            <a:latin typeface="Arial Narrow" pitchFamily="34" charset="0"/>
            <a:cs typeface="Arial" pitchFamily="34" charset="0"/>
          </a:endParaRPr>
        </a:p>
      </dgm:t>
    </dgm:pt>
    <dgm:pt modelId="{531E4485-C39F-4EEA-8D3B-72A6E837A715}" type="par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6094735-BAEA-4C49-9305-0FFF048FB65E}" type="sib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83892E6-970A-EE4C-86AC-8BEBC36C5777}">
      <dgm:prSet phldrT="[Texto]" custT="1"/>
      <dgm:spPr/>
      <dgm:t>
        <a:bodyPr/>
        <a:lstStyle/>
        <a:p>
          <a:r>
            <a:rPr lang="es-ES" sz="1400" b="1" dirty="0" smtClean="0">
              <a:latin typeface="Arial Narrow" pitchFamily="34" charset="0"/>
            </a:rPr>
            <a:t>  Sistema Nal.   Certificación de Competencias consolidado</a:t>
          </a:r>
          <a:r>
            <a:rPr lang="es-ES" sz="1600" dirty="0" smtClean="0">
              <a:latin typeface="Arial Narrow" pitchFamily="34" charset="0"/>
            </a:rPr>
            <a:t>.</a:t>
          </a:r>
          <a:endParaRPr lang="es-CO" sz="1600" b="1" i="0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gm:t>
    </dgm:pt>
    <dgm:pt modelId="{A59AC11C-C276-5340-8EF2-404C067DEBB8}" type="par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16897AE-D98E-0947-9650-12481B3CB4F5}" type="sib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EF396542-32E3-48EB-AC18-4591D511CAFA}">
      <dgm:prSet custT="1"/>
      <dgm:spPr/>
      <dgm:t>
        <a:bodyPr/>
        <a:lstStyle/>
        <a:p>
          <a:r>
            <a:rPr lang="es-ES" sz="1400" b="1" dirty="0" smtClean="0">
              <a:latin typeface="Arial Narrow" pitchFamily="34" charset="0"/>
            </a:rPr>
            <a:t>Marco Nacional  Cualificaciones diseñado </a:t>
          </a:r>
          <a:endParaRPr lang="es-ES" sz="1400" b="1" dirty="0">
            <a:latin typeface="Arial Narrow" pitchFamily="34" charset="0"/>
          </a:endParaRPr>
        </a:p>
      </dgm:t>
    </dgm:pt>
    <dgm:pt modelId="{E6971429-D914-45C4-9E9A-47BAA4C2F497}" type="parTrans" cxnId="{1B4BFC55-AB6A-4501-9213-F7E1779CC9FF}">
      <dgm:prSet/>
      <dgm:spPr/>
      <dgm:t>
        <a:bodyPr/>
        <a:lstStyle/>
        <a:p>
          <a:endParaRPr lang="es-CO"/>
        </a:p>
      </dgm:t>
    </dgm:pt>
    <dgm:pt modelId="{1656E6FD-5508-4EA0-9B6C-F1749A7DEC22}" type="sibTrans" cxnId="{1B4BFC55-AB6A-4501-9213-F7E1779CC9FF}">
      <dgm:prSet/>
      <dgm:spPr/>
      <dgm:t>
        <a:bodyPr/>
        <a:lstStyle/>
        <a:p>
          <a:endParaRPr lang="es-CO"/>
        </a:p>
      </dgm:t>
    </dgm:pt>
    <dgm:pt modelId="{62C72970-C823-4F88-A4DE-713A87B4AF4F}" type="pres">
      <dgm:prSet presAssocID="{001EC8ED-8B85-4717-87C2-71DC404B135B}" presName="arrowDiagram" presStyleCnt="0">
        <dgm:presLayoutVars>
          <dgm:chMax val="5"/>
          <dgm:dir val="rev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06BA77A-8CC4-4500-B01A-7AEBE3488E5B}" type="pres">
      <dgm:prSet presAssocID="{001EC8ED-8B85-4717-87C2-71DC404B135B}" presName="arrow" presStyleLbl="bgShp" presStyleIdx="0" presStyleCnt="1" custLinFactNeighborX="-7831" custLinFactNeighborY="-1852"/>
      <dgm:spPr/>
    </dgm:pt>
    <dgm:pt modelId="{4BF35FE9-68F7-4FA4-9C87-D1DC6F64E056}" type="pres">
      <dgm:prSet presAssocID="{001EC8ED-8B85-4717-87C2-71DC404B135B}" presName="arrowDiagram3" presStyleCnt="0"/>
      <dgm:spPr/>
    </dgm:pt>
    <dgm:pt modelId="{F74D59F4-944A-49F5-95FC-04A4419035C4}" type="pres">
      <dgm:prSet presAssocID="{7210DE32-2DC4-4460-AF79-5069F1EDAAC5}" presName="bullet3a" presStyleLbl="node1" presStyleIdx="0" presStyleCnt="3"/>
      <dgm:spPr/>
    </dgm:pt>
    <dgm:pt modelId="{5205A0E6-1EA0-4317-9904-760282DE6794}" type="pres">
      <dgm:prSet presAssocID="{7210DE32-2DC4-4460-AF79-5069F1EDAAC5}" presName="textBox3a" presStyleLbl="revTx" presStyleIdx="0" presStyleCnt="3" custScaleY="66179" custLinFactNeighborX="7821" custLinFactNeighborY="1761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F5BC5EE-5CD3-4041-AC84-438F896DB8DF}" type="pres">
      <dgm:prSet presAssocID="{F83892E6-970A-EE4C-86AC-8BEBC36C5777}" presName="bullet3b" presStyleLbl="node1" presStyleIdx="1" presStyleCnt="3"/>
      <dgm:spPr/>
    </dgm:pt>
    <dgm:pt modelId="{3A846722-CA88-4622-AB23-0D37DD50D861}" type="pres">
      <dgm:prSet presAssocID="{F83892E6-970A-EE4C-86AC-8BEBC36C5777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415FEC7-BEA0-44FB-AAB5-6191E32C784E}" type="pres">
      <dgm:prSet presAssocID="{EF396542-32E3-48EB-AC18-4591D511CAFA}" presName="bullet3c" presStyleLbl="node1" presStyleIdx="2" presStyleCnt="3"/>
      <dgm:spPr/>
    </dgm:pt>
    <dgm:pt modelId="{219EB36A-6F43-47A7-A52A-61BE523CF52D}" type="pres">
      <dgm:prSet presAssocID="{EF396542-32E3-48EB-AC18-4591D511CAFA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0B3F362-6A85-4DEE-9D6F-3A7D8185C8D2}" type="presOf" srcId="{F83892E6-970A-EE4C-86AC-8BEBC36C5777}" destId="{3A846722-CA88-4622-AB23-0D37DD50D861}" srcOrd="0" destOrd="0" presId="urn:microsoft.com/office/officeart/2005/8/layout/arrow2"/>
    <dgm:cxn modelId="{F0ED2CE7-FF78-1B4E-9BD8-AF22E3C68CFE}" srcId="{001EC8ED-8B85-4717-87C2-71DC404B135B}" destId="{F83892E6-970A-EE4C-86AC-8BEBC36C5777}" srcOrd="1" destOrd="0" parTransId="{A59AC11C-C276-5340-8EF2-404C067DEBB8}" sibTransId="{B16897AE-D98E-0947-9650-12481B3CB4F5}"/>
    <dgm:cxn modelId="{D2235125-C315-41C7-A6EC-A2EA2EFCD28B}" type="presOf" srcId="{001EC8ED-8B85-4717-87C2-71DC404B135B}" destId="{62C72970-C823-4F88-A4DE-713A87B4AF4F}" srcOrd="0" destOrd="0" presId="urn:microsoft.com/office/officeart/2005/8/layout/arrow2"/>
    <dgm:cxn modelId="{7F039066-4F02-4827-A50B-A2E196231244}" srcId="{001EC8ED-8B85-4717-87C2-71DC404B135B}" destId="{7210DE32-2DC4-4460-AF79-5069F1EDAAC5}" srcOrd="0" destOrd="0" parTransId="{531E4485-C39F-4EEA-8D3B-72A6E837A715}" sibTransId="{66094735-BAEA-4C49-9305-0FFF048FB65E}"/>
    <dgm:cxn modelId="{3ECD8A68-1906-4863-B21F-5C69FD5D77B5}" type="presOf" srcId="{7210DE32-2DC4-4460-AF79-5069F1EDAAC5}" destId="{5205A0E6-1EA0-4317-9904-760282DE6794}" srcOrd="0" destOrd="0" presId="urn:microsoft.com/office/officeart/2005/8/layout/arrow2"/>
    <dgm:cxn modelId="{1B4BFC55-AB6A-4501-9213-F7E1779CC9FF}" srcId="{001EC8ED-8B85-4717-87C2-71DC404B135B}" destId="{EF396542-32E3-48EB-AC18-4591D511CAFA}" srcOrd="2" destOrd="0" parTransId="{E6971429-D914-45C4-9E9A-47BAA4C2F497}" sibTransId="{1656E6FD-5508-4EA0-9B6C-F1749A7DEC22}"/>
    <dgm:cxn modelId="{3F3E34B6-F1B4-474B-A22E-540628FAEC96}" type="presOf" srcId="{EF396542-32E3-48EB-AC18-4591D511CAFA}" destId="{219EB36A-6F43-47A7-A52A-61BE523CF52D}" srcOrd="0" destOrd="0" presId="urn:microsoft.com/office/officeart/2005/8/layout/arrow2"/>
    <dgm:cxn modelId="{B88A143D-3F65-461B-A587-E2AFF5ACB8D6}" type="presParOf" srcId="{62C72970-C823-4F88-A4DE-713A87B4AF4F}" destId="{F06BA77A-8CC4-4500-B01A-7AEBE3488E5B}" srcOrd="0" destOrd="0" presId="urn:microsoft.com/office/officeart/2005/8/layout/arrow2"/>
    <dgm:cxn modelId="{3F84B38C-A5E0-48A0-8179-5811D135D0F1}" type="presParOf" srcId="{62C72970-C823-4F88-A4DE-713A87B4AF4F}" destId="{4BF35FE9-68F7-4FA4-9C87-D1DC6F64E056}" srcOrd="1" destOrd="0" presId="urn:microsoft.com/office/officeart/2005/8/layout/arrow2"/>
    <dgm:cxn modelId="{C5C5ACC3-7F6E-4AD5-ACE7-00DDC9DBDECF}" type="presParOf" srcId="{4BF35FE9-68F7-4FA4-9C87-D1DC6F64E056}" destId="{F74D59F4-944A-49F5-95FC-04A4419035C4}" srcOrd="0" destOrd="0" presId="urn:microsoft.com/office/officeart/2005/8/layout/arrow2"/>
    <dgm:cxn modelId="{84393095-68DF-4E42-9DCD-12BDFA15F0AD}" type="presParOf" srcId="{4BF35FE9-68F7-4FA4-9C87-D1DC6F64E056}" destId="{5205A0E6-1EA0-4317-9904-760282DE6794}" srcOrd="1" destOrd="0" presId="urn:microsoft.com/office/officeart/2005/8/layout/arrow2"/>
    <dgm:cxn modelId="{FBE693A4-9C7B-487A-A9C8-663AE3AF3FF9}" type="presParOf" srcId="{4BF35FE9-68F7-4FA4-9C87-D1DC6F64E056}" destId="{DF5BC5EE-5CD3-4041-AC84-438F896DB8DF}" srcOrd="2" destOrd="0" presId="urn:microsoft.com/office/officeart/2005/8/layout/arrow2"/>
    <dgm:cxn modelId="{1FB1F3B2-C3B7-4FFD-BC80-654C3331302A}" type="presParOf" srcId="{4BF35FE9-68F7-4FA4-9C87-D1DC6F64E056}" destId="{3A846722-CA88-4622-AB23-0D37DD50D861}" srcOrd="3" destOrd="0" presId="urn:microsoft.com/office/officeart/2005/8/layout/arrow2"/>
    <dgm:cxn modelId="{276ECB9B-7B20-4A74-807D-EF3B96A8CF29}" type="presParOf" srcId="{4BF35FE9-68F7-4FA4-9C87-D1DC6F64E056}" destId="{8415FEC7-BEA0-44FB-AAB5-6191E32C784E}" srcOrd="4" destOrd="0" presId="urn:microsoft.com/office/officeart/2005/8/layout/arrow2"/>
    <dgm:cxn modelId="{F97FB3A4-C92E-4910-ACB7-3E117F8239A3}" type="presParOf" srcId="{4BF35FE9-68F7-4FA4-9C87-D1DC6F64E056}" destId="{219EB36A-6F43-47A7-A52A-61BE523CF52D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01EC8ED-8B85-4717-87C2-71DC404B135B}" type="doc">
      <dgm:prSet loTypeId="urn:microsoft.com/office/officeart/2005/8/layout/arrow2" loCatId="process" qsTypeId="urn:microsoft.com/office/officeart/2005/8/quickstyle/simple3" qsCatId="simple" csTypeId="urn:microsoft.com/office/officeart/2005/8/colors/colorful2" csCatId="colorful" phldr="1"/>
      <dgm:spPr/>
    </dgm:pt>
    <dgm:pt modelId="{7210DE32-2DC4-4460-AF79-5069F1EDAAC5}">
      <dgm:prSet phldrT="[Texto]" custT="1"/>
      <dgm:spPr/>
      <dgm:t>
        <a:bodyPr/>
        <a:lstStyle/>
        <a:p>
          <a:pPr algn="ctr"/>
          <a:r>
            <a:rPr lang="es-ES_tradnl" sz="1200" b="1" dirty="0" smtClean="0">
              <a:latin typeface="Arial" pitchFamily="34" charset="0"/>
              <a:cs typeface="Arial" pitchFamily="34" charset="0"/>
            </a:rPr>
            <a:t>Instituciones públicas </a:t>
          </a:r>
          <a:r>
            <a:rPr lang="es-CO" sz="1200" b="1" dirty="0" smtClean="0">
              <a:latin typeface="Arial" pitchFamily="34" charset="0"/>
              <a:cs typeface="Arial" pitchFamily="34" charset="0"/>
            </a:rPr>
            <a:t>FTDH con </a:t>
          </a:r>
          <a:r>
            <a:rPr lang="es-ES_tradnl" sz="1200" b="1" dirty="0" smtClean="0">
              <a:latin typeface="Arial" pitchFamily="34" charset="0"/>
              <a:cs typeface="Arial" pitchFamily="34" charset="0"/>
            </a:rPr>
            <a:t>SGC.</a:t>
          </a:r>
          <a:r>
            <a:rPr lang="es-CO" sz="1200" b="1" dirty="0" smtClean="0">
              <a:latin typeface="Arial" pitchFamily="34" charset="0"/>
              <a:cs typeface="Arial" pitchFamily="34" charset="0"/>
            </a:rPr>
            <a:t> </a:t>
          </a:r>
          <a:endParaRPr lang="es-CO" sz="1200" b="1" dirty="0">
            <a:latin typeface="Arial" pitchFamily="34" charset="0"/>
            <a:cs typeface="Arial" pitchFamily="34" charset="0"/>
          </a:endParaRPr>
        </a:p>
      </dgm:t>
    </dgm:pt>
    <dgm:pt modelId="{531E4485-C39F-4EEA-8D3B-72A6E837A715}" type="par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6094735-BAEA-4C49-9305-0FFF048FB65E}" type="sib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A5A89751-B832-4ACA-9712-12FC72F0F0C7}">
      <dgm:prSet phldrT="[Texto]" custT="1"/>
      <dgm:spPr/>
      <dgm:t>
        <a:bodyPr/>
        <a:lstStyle/>
        <a:p>
          <a:pPr algn="ctr"/>
          <a:r>
            <a:rPr lang="es-ES_tradnl" sz="1200" b="1" dirty="0" smtClean="0">
              <a:latin typeface="Arial" pitchFamily="34" charset="0"/>
              <a:cs typeface="Arial" pitchFamily="34" charset="0"/>
            </a:rPr>
            <a:t>Diseño curricular bajo enfoque de competencias a SE e IFTDH.</a:t>
          </a:r>
          <a:r>
            <a:rPr lang="es-ES" sz="1200" b="1" i="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2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2A1079B-9891-4EB8-8A73-62F616E10C6C}" type="par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8C701F0D-D9FD-4EB9-9B9F-2FEDB9C420C5}" type="sib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83892E6-970A-EE4C-86AC-8BEBC36C5777}">
      <dgm:prSet phldrT="[Texto]" custT="1"/>
      <dgm:spPr/>
      <dgm:t>
        <a:bodyPr/>
        <a:lstStyle/>
        <a:p>
          <a:pPr algn="ctr"/>
          <a:r>
            <a:rPr lang="es-ES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stituciones y programas de FT con certificación de calidad.</a:t>
          </a:r>
          <a:endParaRPr lang="es-CO" sz="12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59AC11C-C276-5340-8EF2-404C067DEBB8}" type="par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16897AE-D98E-0947-9650-12481B3CB4F5}" type="sib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6406230-D214-4F5A-BE16-58D5A5718CCD}">
      <dgm:prSet custT="1"/>
      <dgm:spPr/>
      <dgm:t>
        <a:bodyPr/>
        <a:lstStyle/>
        <a:p>
          <a:pPr algn="ctr"/>
          <a:r>
            <a:rPr lang="es-ES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ctualización y Auditoría a la información que registran en el SIET las SE certificadas.                                                            </a:t>
          </a:r>
          <a:endParaRPr lang="es-ES" sz="1200" b="1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5E720821-3622-4952-9EDC-C37041928FD7}" type="parTrans" cxnId="{0D5664AC-71CF-4955-BDE9-EB5CEC979D14}">
      <dgm:prSet/>
      <dgm:spPr/>
      <dgm:t>
        <a:bodyPr/>
        <a:lstStyle/>
        <a:p>
          <a:endParaRPr lang="es-CO"/>
        </a:p>
      </dgm:t>
    </dgm:pt>
    <dgm:pt modelId="{6577339B-A4E1-4090-9389-BE8245EFC8C1}" type="sibTrans" cxnId="{0D5664AC-71CF-4955-BDE9-EB5CEC979D14}">
      <dgm:prSet/>
      <dgm:spPr/>
      <dgm:t>
        <a:bodyPr/>
        <a:lstStyle/>
        <a:p>
          <a:endParaRPr lang="es-CO"/>
        </a:p>
      </dgm:t>
    </dgm:pt>
    <dgm:pt modelId="{16F7CD89-D94B-479B-9109-1D3CF20AE630}">
      <dgm:prSet phldrT="[Texto]" custT="1"/>
      <dgm:spPr/>
      <dgm:t>
        <a:bodyPr/>
        <a:lstStyle/>
        <a:p>
          <a:pPr algn="ctr"/>
          <a:r>
            <a:rPr lang="es-ES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compañamiento a las Secretarías de Educación e IFT en el modelo de Aseguramiento de calidad.</a:t>
          </a:r>
          <a:endParaRPr lang="es-CO" sz="12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38531721-6E17-4FC1-BD55-190C7342B972}" type="parTrans" cxnId="{F46BE7CC-C5B0-423E-AECB-93964B3791B9}">
      <dgm:prSet/>
      <dgm:spPr/>
      <dgm:t>
        <a:bodyPr/>
        <a:lstStyle/>
        <a:p>
          <a:endParaRPr lang="es-ES"/>
        </a:p>
      </dgm:t>
    </dgm:pt>
    <dgm:pt modelId="{F2BCDFEF-4056-4DFC-86A1-0AFEFD80B9E2}" type="sibTrans" cxnId="{F46BE7CC-C5B0-423E-AECB-93964B3791B9}">
      <dgm:prSet/>
      <dgm:spPr/>
      <dgm:t>
        <a:bodyPr/>
        <a:lstStyle/>
        <a:p>
          <a:endParaRPr lang="es-ES"/>
        </a:p>
      </dgm:t>
    </dgm:pt>
    <dgm:pt modelId="{B0D29FC9-777E-43D0-BE40-CB7EC711A73C}">
      <dgm:prSet phldrT="[Texto]" custT="1"/>
      <dgm:spPr/>
      <dgm:t>
        <a:bodyPr/>
        <a:lstStyle/>
        <a:p>
          <a:endParaRPr lang="es-CO"/>
        </a:p>
      </dgm:t>
    </dgm:pt>
    <dgm:pt modelId="{6301F2B0-3E10-46BE-A55B-C4FAB720BE84}" type="parTrans" cxnId="{99C4B3CB-9827-4BAD-A1DC-B7E00AD7A26F}">
      <dgm:prSet/>
      <dgm:spPr/>
      <dgm:t>
        <a:bodyPr/>
        <a:lstStyle/>
        <a:p>
          <a:endParaRPr lang="es-ES"/>
        </a:p>
      </dgm:t>
    </dgm:pt>
    <dgm:pt modelId="{14291D80-F98B-4FC7-9E3F-D099DD043B15}" type="sibTrans" cxnId="{99C4B3CB-9827-4BAD-A1DC-B7E00AD7A26F}">
      <dgm:prSet/>
      <dgm:spPr/>
      <dgm:t>
        <a:bodyPr/>
        <a:lstStyle/>
        <a:p>
          <a:endParaRPr lang="es-ES"/>
        </a:p>
      </dgm:t>
    </dgm:pt>
    <dgm:pt modelId="{62C72970-C823-4F88-A4DE-713A87B4AF4F}" type="pres">
      <dgm:prSet presAssocID="{001EC8ED-8B85-4717-87C2-71DC404B135B}" presName="arrowDiagram" presStyleCnt="0">
        <dgm:presLayoutVars>
          <dgm:chMax val="5"/>
          <dgm:dir val="rev"/>
          <dgm:resizeHandles val="exact"/>
        </dgm:presLayoutVars>
      </dgm:prSet>
      <dgm:spPr/>
    </dgm:pt>
    <dgm:pt modelId="{F06BA77A-8CC4-4500-B01A-7AEBE3488E5B}" type="pres">
      <dgm:prSet presAssocID="{001EC8ED-8B85-4717-87C2-71DC404B135B}" presName="arrow" presStyleLbl="bgShp" presStyleIdx="0" presStyleCnt="1" custLinFactNeighborX="-7831" custLinFactNeighborY="-1852"/>
      <dgm:spPr/>
    </dgm:pt>
    <dgm:pt modelId="{D8801362-37F5-416A-88C0-392596FE3C63}" type="pres">
      <dgm:prSet presAssocID="{001EC8ED-8B85-4717-87C2-71DC404B135B}" presName="arrowDiagram5" presStyleCnt="0"/>
      <dgm:spPr/>
    </dgm:pt>
    <dgm:pt modelId="{5EE4FEFF-4D28-463C-8769-5FB28CF6F060}" type="pres">
      <dgm:prSet presAssocID="{7210DE32-2DC4-4460-AF79-5069F1EDAAC5}" presName="bullet5a" presStyleLbl="node1" presStyleIdx="0" presStyleCnt="5"/>
      <dgm:spPr/>
    </dgm:pt>
    <dgm:pt modelId="{2B4FA41D-3B9D-464A-BF35-C2B40D07FEE1}" type="pres">
      <dgm:prSet presAssocID="{7210DE32-2DC4-4460-AF79-5069F1EDAAC5}" presName="textBox5a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BF20FB2-5464-4CFE-92E9-8E4F54C9B9DA}" type="pres">
      <dgm:prSet presAssocID="{A5A89751-B832-4ACA-9712-12FC72F0F0C7}" presName="bullet5b" presStyleLbl="node1" presStyleIdx="1" presStyleCnt="5"/>
      <dgm:spPr/>
    </dgm:pt>
    <dgm:pt modelId="{A1EF3A2E-20B0-48EF-B4CE-5158D0BF7502}" type="pres">
      <dgm:prSet presAssocID="{A5A89751-B832-4ACA-9712-12FC72F0F0C7}" presName="textBox5b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FD40C73-A609-414A-969F-6E0C032D25E2}" type="pres">
      <dgm:prSet presAssocID="{F6406230-D214-4F5A-BE16-58D5A5718CCD}" presName="bullet5c" presStyleLbl="node1" presStyleIdx="2" presStyleCnt="5"/>
      <dgm:spPr/>
    </dgm:pt>
    <dgm:pt modelId="{8242ADE2-6E9F-4507-9FDC-25574F906231}" type="pres">
      <dgm:prSet presAssocID="{F6406230-D214-4F5A-BE16-58D5A5718CCD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D7F751C-7291-49F2-8BB5-5ECEE29A7311}" type="pres">
      <dgm:prSet presAssocID="{F83892E6-970A-EE4C-86AC-8BEBC36C5777}" presName="bullet5d" presStyleLbl="node1" presStyleIdx="3" presStyleCnt="5"/>
      <dgm:spPr/>
    </dgm:pt>
    <dgm:pt modelId="{61A21FA9-706F-45B8-B9A1-7F108EF498FA}" type="pres">
      <dgm:prSet presAssocID="{F83892E6-970A-EE4C-86AC-8BEBC36C5777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FF090ED-23FA-4461-9B40-4C30A5B7BA9F}" type="pres">
      <dgm:prSet presAssocID="{16F7CD89-D94B-479B-9109-1D3CF20AE630}" presName="bullet5e" presStyleLbl="node1" presStyleIdx="4" presStyleCnt="5"/>
      <dgm:spPr/>
    </dgm:pt>
    <dgm:pt modelId="{3D0FEB95-5A1F-4814-A48D-41A8028D79C0}" type="pres">
      <dgm:prSet presAssocID="{16F7CD89-D94B-479B-9109-1D3CF20AE630}" presName="textBox5e" presStyleLbl="revTx" presStyleIdx="4" presStyleCnt="5" custScaleX="10983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7A8F81BB-0CBA-43DD-856E-E163956C6BB8}" type="presOf" srcId="{001EC8ED-8B85-4717-87C2-71DC404B135B}" destId="{62C72970-C823-4F88-A4DE-713A87B4AF4F}" srcOrd="0" destOrd="0" presId="urn:microsoft.com/office/officeart/2005/8/layout/arrow2"/>
    <dgm:cxn modelId="{52843466-F57B-42D1-A474-7DB6F6376308}" type="presOf" srcId="{F83892E6-970A-EE4C-86AC-8BEBC36C5777}" destId="{61A21FA9-706F-45B8-B9A1-7F108EF498FA}" srcOrd="0" destOrd="0" presId="urn:microsoft.com/office/officeart/2005/8/layout/arrow2"/>
    <dgm:cxn modelId="{F0ED2CE7-FF78-1B4E-9BD8-AF22E3C68CFE}" srcId="{001EC8ED-8B85-4717-87C2-71DC404B135B}" destId="{F83892E6-970A-EE4C-86AC-8BEBC36C5777}" srcOrd="3" destOrd="0" parTransId="{A59AC11C-C276-5340-8EF2-404C067DEBB8}" sibTransId="{B16897AE-D98E-0947-9650-12481B3CB4F5}"/>
    <dgm:cxn modelId="{A0283656-B238-4A09-9D00-83187AFD29BA}" type="presOf" srcId="{F6406230-D214-4F5A-BE16-58D5A5718CCD}" destId="{8242ADE2-6E9F-4507-9FDC-25574F906231}" srcOrd="0" destOrd="0" presId="urn:microsoft.com/office/officeart/2005/8/layout/arrow2"/>
    <dgm:cxn modelId="{F46BE7CC-C5B0-423E-AECB-93964B3791B9}" srcId="{001EC8ED-8B85-4717-87C2-71DC404B135B}" destId="{16F7CD89-D94B-479B-9109-1D3CF20AE630}" srcOrd="4" destOrd="0" parTransId="{38531721-6E17-4FC1-BD55-190C7342B972}" sibTransId="{F2BCDFEF-4056-4DFC-86A1-0AFEFD80B9E2}"/>
    <dgm:cxn modelId="{61886885-1F12-43BD-B1B5-97477FC8CF79}" srcId="{001EC8ED-8B85-4717-87C2-71DC404B135B}" destId="{A5A89751-B832-4ACA-9712-12FC72F0F0C7}" srcOrd="1" destOrd="0" parTransId="{22A1079B-9891-4EB8-8A73-62F616E10C6C}" sibTransId="{8C701F0D-D9FD-4EB9-9B9F-2FEDB9C420C5}"/>
    <dgm:cxn modelId="{0D5664AC-71CF-4955-BDE9-EB5CEC979D14}" srcId="{001EC8ED-8B85-4717-87C2-71DC404B135B}" destId="{F6406230-D214-4F5A-BE16-58D5A5718CCD}" srcOrd="2" destOrd="0" parTransId="{5E720821-3622-4952-9EDC-C37041928FD7}" sibTransId="{6577339B-A4E1-4090-9389-BE8245EFC8C1}"/>
    <dgm:cxn modelId="{DB282725-BA38-4215-B578-40F20D095ACF}" type="presOf" srcId="{A5A89751-B832-4ACA-9712-12FC72F0F0C7}" destId="{A1EF3A2E-20B0-48EF-B4CE-5158D0BF7502}" srcOrd="0" destOrd="0" presId="urn:microsoft.com/office/officeart/2005/8/layout/arrow2"/>
    <dgm:cxn modelId="{99C4B3CB-9827-4BAD-A1DC-B7E00AD7A26F}" srcId="{001EC8ED-8B85-4717-87C2-71DC404B135B}" destId="{B0D29FC9-777E-43D0-BE40-CB7EC711A73C}" srcOrd="5" destOrd="0" parTransId="{6301F2B0-3E10-46BE-A55B-C4FAB720BE84}" sibTransId="{14291D80-F98B-4FC7-9E3F-D099DD043B15}"/>
    <dgm:cxn modelId="{7F039066-4F02-4827-A50B-A2E196231244}" srcId="{001EC8ED-8B85-4717-87C2-71DC404B135B}" destId="{7210DE32-2DC4-4460-AF79-5069F1EDAAC5}" srcOrd="0" destOrd="0" parTransId="{531E4485-C39F-4EEA-8D3B-72A6E837A715}" sibTransId="{66094735-BAEA-4C49-9305-0FFF048FB65E}"/>
    <dgm:cxn modelId="{EC71C8D7-E446-4A41-92A8-E69EA17E25CA}" type="presOf" srcId="{7210DE32-2DC4-4460-AF79-5069F1EDAAC5}" destId="{2B4FA41D-3B9D-464A-BF35-C2B40D07FEE1}" srcOrd="0" destOrd="0" presId="urn:microsoft.com/office/officeart/2005/8/layout/arrow2"/>
    <dgm:cxn modelId="{32F2855C-0DB9-418E-BA60-FC5183CB2E81}" type="presOf" srcId="{16F7CD89-D94B-479B-9109-1D3CF20AE630}" destId="{3D0FEB95-5A1F-4814-A48D-41A8028D79C0}" srcOrd="0" destOrd="0" presId="urn:microsoft.com/office/officeart/2005/8/layout/arrow2"/>
    <dgm:cxn modelId="{1426AE50-84B5-450C-B3DC-F0B4E26E525A}" type="presParOf" srcId="{62C72970-C823-4F88-A4DE-713A87B4AF4F}" destId="{F06BA77A-8CC4-4500-B01A-7AEBE3488E5B}" srcOrd="0" destOrd="0" presId="urn:microsoft.com/office/officeart/2005/8/layout/arrow2"/>
    <dgm:cxn modelId="{68BCAC90-683C-47FC-B146-FCDC15FAA674}" type="presParOf" srcId="{62C72970-C823-4F88-A4DE-713A87B4AF4F}" destId="{D8801362-37F5-416A-88C0-392596FE3C63}" srcOrd="1" destOrd="0" presId="urn:microsoft.com/office/officeart/2005/8/layout/arrow2"/>
    <dgm:cxn modelId="{3E5B7604-329D-4A95-885B-D2DA13BB6835}" type="presParOf" srcId="{D8801362-37F5-416A-88C0-392596FE3C63}" destId="{5EE4FEFF-4D28-463C-8769-5FB28CF6F060}" srcOrd="0" destOrd="0" presId="urn:microsoft.com/office/officeart/2005/8/layout/arrow2"/>
    <dgm:cxn modelId="{26691436-5AF6-44DB-A211-6424541E001F}" type="presParOf" srcId="{D8801362-37F5-416A-88C0-392596FE3C63}" destId="{2B4FA41D-3B9D-464A-BF35-C2B40D07FEE1}" srcOrd="1" destOrd="0" presId="urn:microsoft.com/office/officeart/2005/8/layout/arrow2"/>
    <dgm:cxn modelId="{C0ABE88D-34E7-4C25-889F-D1345C05A5AA}" type="presParOf" srcId="{D8801362-37F5-416A-88C0-392596FE3C63}" destId="{3BF20FB2-5464-4CFE-92E9-8E4F54C9B9DA}" srcOrd="2" destOrd="0" presId="urn:microsoft.com/office/officeart/2005/8/layout/arrow2"/>
    <dgm:cxn modelId="{A9C9B474-5C53-4D78-8219-C109665A4011}" type="presParOf" srcId="{D8801362-37F5-416A-88C0-392596FE3C63}" destId="{A1EF3A2E-20B0-48EF-B4CE-5158D0BF7502}" srcOrd="3" destOrd="0" presId="urn:microsoft.com/office/officeart/2005/8/layout/arrow2"/>
    <dgm:cxn modelId="{E59DF2EB-3CC0-4CDB-B753-78FDAF8BCCDA}" type="presParOf" srcId="{D8801362-37F5-416A-88C0-392596FE3C63}" destId="{9FD40C73-A609-414A-969F-6E0C032D25E2}" srcOrd="4" destOrd="0" presId="urn:microsoft.com/office/officeart/2005/8/layout/arrow2"/>
    <dgm:cxn modelId="{FB9C1697-4C84-4109-B2CB-262D867BCFA3}" type="presParOf" srcId="{D8801362-37F5-416A-88C0-392596FE3C63}" destId="{8242ADE2-6E9F-4507-9FDC-25574F906231}" srcOrd="5" destOrd="0" presId="urn:microsoft.com/office/officeart/2005/8/layout/arrow2"/>
    <dgm:cxn modelId="{EDC11299-C8C8-44A7-AD44-90B701B58896}" type="presParOf" srcId="{D8801362-37F5-416A-88C0-392596FE3C63}" destId="{AD7F751C-7291-49F2-8BB5-5ECEE29A7311}" srcOrd="6" destOrd="0" presId="urn:microsoft.com/office/officeart/2005/8/layout/arrow2"/>
    <dgm:cxn modelId="{CC85C16C-B124-477A-A942-5D33C4C6471E}" type="presParOf" srcId="{D8801362-37F5-416A-88C0-392596FE3C63}" destId="{61A21FA9-706F-45B8-B9A1-7F108EF498FA}" srcOrd="7" destOrd="0" presId="urn:microsoft.com/office/officeart/2005/8/layout/arrow2"/>
    <dgm:cxn modelId="{29857DFE-BE21-4818-BDE0-2FAD146EB136}" type="presParOf" srcId="{D8801362-37F5-416A-88C0-392596FE3C63}" destId="{7FF090ED-23FA-4461-9B40-4C30A5B7BA9F}" srcOrd="8" destOrd="0" presId="urn:microsoft.com/office/officeart/2005/8/layout/arrow2"/>
    <dgm:cxn modelId="{BFF26F21-E7E5-47BD-BAAE-6B2D97247E70}" type="presParOf" srcId="{D8801362-37F5-416A-88C0-392596FE3C63}" destId="{3D0FEB95-5A1F-4814-A48D-41A8028D79C0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0862201-D39A-4A0D-84C9-02BA3BA5944D}" type="doc">
      <dgm:prSet loTypeId="urn:microsoft.com/office/officeart/2009/layout/CircleArrowProcess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O"/>
        </a:p>
      </dgm:t>
    </dgm:pt>
    <dgm:pt modelId="{EEBF0629-E802-4A2E-A017-B86B79E1C0E9}">
      <dgm:prSet phldrT="[Texto]" custT="1"/>
      <dgm:spPr/>
      <dgm:t>
        <a:bodyPr/>
        <a:lstStyle/>
        <a:p>
          <a:r>
            <a:rPr lang="es-CO" sz="1100" b="1" dirty="0" smtClean="0">
              <a:solidFill>
                <a:srgbClr val="C00000"/>
              </a:solidFill>
            </a:rPr>
            <a:t>Taller </a:t>
          </a:r>
          <a:r>
            <a:rPr lang="es-CO" sz="1100" b="1" smtClean="0">
              <a:solidFill>
                <a:srgbClr val="C00000"/>
              </a:solidFill>
            </a:rPr>
            <a:t>Regional Evaluacion </a:t>
          </a:r>
          <a:r>
            <a:rPr lang="es-CO" sz="1100" b="1" dirty="0" smtClean="0">
              <a:solidFill>
                <a:srgbClr val="C00000"/>
              </a:solidFill>
            </a:rPr>
            <a:t>de programas , SIET</a:t>
          </a:r>
          <a:endParaRPr lang="es-CO" sz="1100" b="1" dirty="0">
            <a:solidFill>
              <a:srgbClr val="C00000"/>
            </a:solidFill>
          </a:endParaRPr>
        </a:p>
      </dgm:t>
    </dgm:pt>
    <dgm:pt modelId="{2B541A50-6E1B-4166-9B7C-BEBCF8F1CE92}" type="parTrans" cxnId="{40842FD4-8BF1-4C99-8788-B5AA7DC56904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4004BD76-EE19-44C4-A468-5401F829B466}" type="sibTrans" cxnId="{40842FD4-8BF1-4C99-8788-B5AA7DC56904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9367AD80-BA0D-4E3F-A533-51EC7F162F0A}">
      <dgm:prSet phldrT="[Texto]" custT="1"/>
      <dgm:spPr/>
      <dgm:t>
        <a:bodyPr/>
        <a:lstStyle/>
        <a:p>
          <a:r>
            <a:rPr lang="es-CO" sz="1100" b="1" dirty="0" smtClean="0">
              <a:solidFill>
                <a:srgbClr val="C00000"/>
              </a:solidFill>
            </a:rPr>
            <a:t>Taller Regional Diseño Curricular y  Modelo Aseguramiento de Calidad</a:t>
          </a:r>
          <a:endParaRPr lang="es-CO" sz="1100" b="1" dirty="0">
            <a:solidFill>
              <a:srgbClr val="C00000"/>
            </a:solidFill>
          </a:endParaRPr>
        </a:p>
      </dgm:t>
    </dgm:pt>
    <dgm:pt modelId="{6F09DAA2-35EB-4803-BFEB-43D3A5EEC9FD}" type="parTrans" cxnId="{CAD72323-60EA-4A41-8258-46EB44879FAF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8362173E-B97E-427C-9570-ECC8C18D8587}" type="sibTrans" cxnId="{CAD72323-60EA-4A41-8258-46EB44879FAF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9E757CA7-4055-45E2-8C48-7B27B883F801}">
      <dgm:prSet phldrT="[Texto]" custT="1"/>
      <dgm:spPr/>
      <dgm:t>
        <a:bodyPr/>
        <a:lstStyle/>
        <a:p>
          <a:r>
            <a:rPr lang="es-CO" sz="1100" b="1" dirty="0" smtClean="0">
              <a:solidFill>
                <a:srgbClr val="C00000"/>
              </a:solidFill>
            </a:rPr>
            <a:t>Taller INTEGRAL  Gestión de ETDH Entidades Territoriales</a:t>
          </a:r>
          <a:endParaRPr lang="es-CO" sz="1100" b="1" dirty="0">
            <a:solidFill>
              <a:srgbClr val="C00000"/>
            </a:solidFill>
          </a:endParaRPr>
        </a:p>
      </dgm:t>
    </dgm:pt>
    <dgm:pt modelId="{08D9F305-3B90-4C1B-A1D6-EBE989CD1F83}" type="parTrans" cxnId="{25258D15-5B1C-4798-803D-C85B5BC4D176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38740D12-65D4-4D7B-89CC-84F9BC742351}" type="sibTrans" cxnId="{25258D15-5B1C-4798-803D-C85B5BC4D176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A474D8F6-BB55-41AC-8971-FBB8AC70199A}">
      <dgm:prSet phldrT="[Texto]" custT="1"/>
      <dgm:spPr/>
      <dgm:t>
        <a:bodyPr/>
        <a:lstStyle/>
        <a:p>
          <a:r>
            <a:rPr lang="es-CO" sz="1100" b="1" dirty="0" smtClean="0">
              <a:solidFill>
                <a:srgbClr val="C00000"/>
              </a:solidFill>
            </a:rPr>
            <a:t>Taller Auditores Internos de Calidad</a:t>
          </a:r>
          <a:endParaRPr lang="es-CO" sz="1100" b="1" dirty="0">
            <a:solidFill>
              <a:srgbClr val="C00000"/>
            </a:solidFill>
          </a:endParaRPr>
        </a:p>
      </dgm:t>
    </dgm:pt>
    <dgm:pt modelId="{9D806FE4-8165-4AE8-B670-45D59260A668}" type="parTrans" cxnId="{D55FCA2D-39A0-4431-860A-51D5300E8E19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B32FBE54-0EE0-4CC8-97D9-E315AC27DD14}" type="sibTrans" cxnId="{D55FCA2D-39A0-4431-860A-51D5300E8E19}">
      <dgm:prSet/>
      <dgm:spPr/>
      <dgm:t>
        <a:bodyPr/>
        <a:lstStyle/>
        <a:p>
          <a:endParaRPr lang="es-CO" sz="3200" b="1">
            <a:solidFill>
              <a:srgbClr val="C00000"/>
            </a:solidFill>
          </a:endParaRPr>
        </a:p>
      </dgm:t>
    </dgm:pt>
    <dgm:pt modelId="{00A1AC7C-49A4-42A4-A956-48D9B5CFFD76}">
      <dgm:prSet phldrT="[Texto]" custT="1"/>
      <dgm:spPr/>
      <dgm:t>
        <a:bodyPr/>
        <a:lstStyle/>
        <a:p>
          <a:r>
            <a:rPr lang="es-CO" sz="1100" b="1" smtClean="0">
              <a:solidFill>
                <a:srgbClr val="C00000"/>
              </a:solidFill>
            </a:rPr>
            <a:t>Taller de implementación </a:t>
          </a:r>
          <a:r>
            <a:rPr lang="es-CO" sz="1100" b="1" dirty="0" smtClean="0">
              <a:solidFill>
                <a:srgbClr val="C00000"/>
              </a:solidFill>
            </a:rPr>
            <a:t>sistema de Gestión de Calidad</a:t>
          </a:r>
          <a:endParaRPr lang="es-CO" sz="1100" b="1" dirty="0">
            <a:solidFill>
              <a:srgbClr val="C00000"/>
            </a:solidFill>
          </a:endParaRPr>
        </a:p>
      </dgm:t>
    </dgm:pt>
    <dgm:pt modelId="{56F05CC2-3D7D-4C9F-9BF4-FD5F1F78DFA2}" type="parTrans" cxnId="{0EBB1CD1-3BEC-48F2-9B74-8D595ABD5B87}">
      <dgm:prSet/>
      <dgm:spPr/>
      <dgm:t>
        <a:bodyPr/>
        <a:lstStyle/>
        <a:p>
          <a:endParaRPr lang="es-CO" b="1">
            <a:solidFill>
              <a:srgbClr val="C00000"/>
            </a:solidFill>
          </a:endParaRPr>
        </a:p>
      </dgm:t>
    </dgm:pt>
    <dgm:pt modelId="{0A0C4528-B641-4FF7-AE60-2CC5654ABC28}" type="sibTrans" cxnId="{0EBB1CD1-3BEC-48F2-9B74-8D595ABD5B87}">
      <dgm:prSet/>
      <dgm:spPr/>
      <dgm:t>
        <a:bodyPr/>
        <a:lstStyle/>
        <a:p>
          <a:endParaRPr lang="es-CO" b="1">
            <a:solidFill>
              <a:srgbClr val="C00000"/>
            </a:solidFill>
          </a:endParaRPr>
        </a:p>
      </dgm:t>
    </dgm:pt>
    <dgm:pt modelId="{A28FCA59-12C4-4D16-9B2F-0567A35E3C46}">
      <dgm:prSet phldrT="[Texto]" custT="1"/>
      <dgm:spPr/>
      <dgm:t>
        <a:bodyPr/>
        <a:lstStyle/>
        <a:p>
          <a:r>
            <a:rPr lang="es-CO" sz="1100" b="1" dirty="0" smtClean="0">
              <a:solidFill>
                <a:srgbClr val="C00000"/>
              </a:solidFill>
            </a:rPr>
            <a:t>Foro Sistema de Aseguramiento de Calidad  FT</a:t>
          </a:r>
          <a:endParaRPr lang="es-CO" sz="1100" b="1" dirty="0">
            <a:solidFill>
              <a:srgbClr val="C00000"/>
            </a:solidFill>
          </a:endParaRPr>
        </a:p>
      </dgm:t>
    </dgm:pt>
    <dgm:pt modelId="{AD4F4555-FFDE-4A03-BACD-3BF538CE5B6C}" type="parTrans" cxnId="{9F0E603B-C3B0-46F8-9062-249F23891FB4}">
      <dgm:prSet/>
      <dgm:spPr/>
      <dgm:t>
        <a:bodyPr/>
        <a:lstStyle/>
        <a:p>
          <a:endParaRPr lang="es-CO" b="1">
            <a:solidFill>
              <a:srgbClr val="C00000"/>
            </a:solidFill>
          </a:endParaRPr>
        </a:p>
      </dgm:t>
    </dgm:pt>
    <dgm:pt modelId="{76EF8475-116F-496E-A3A3-141D935F5698}" type="sibTrans" cxnId="{9F0E603B-C3B0-46F8-9062-249F23891FB4}">
      <dgm:prSet/>
      <dgm:spPr/>
      <dgm:t>
        <a:bodyPr/>
        <a:lstStyle/>
        <a:p>
          <a:endParaRPr lang="es-CO" b="1">
            <a:solidFill>
              <a:srgbClr val="C00000"/>
            </a:solidFill>
          </a:endParaRPr>
        </a:p>
      </dgm:t>
    </dgm:pt>
    <dgm:pt modelId="{1459D807-B949-499A-9BF3-20C589008322}" type="pres">
      <dgm:prSet presAssocID="{40862201-D39A-4A0D-84C9-02BA3BA5944D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s-CO"/>
        </a:p>
      </dgm:t>
    </dgm:pt>
    <dgm:pt modelId="{4449DCBB-EAD9-4CBC-88D6-386474A6F91C}" type="pres">
      <dgm:prSet presAssocID="{EEBF0629-E802-4A2E-A017-B86B79E1C0E9}" presName="Accent1" presStyleCnt="0"/>
      <dgm:spPr/>
    </dgm:pt>
    <dgm:pt modelId="{BA7177CC-7D0E-45C0-9DEA-DAFF9E8F497D}" type="pres">
      <dgm:prSet presAssocID="{EEBF0629-E802-4A2E-A017-B86B79E1C0E9}" presName="Accent" presStyleLbl="node1" presStyleIdx="0" presStyleCnt="6" custScaleX="193972"/>
      <dgm:spPr/>
    </dgm:pt>
    <dgm:pt modelId="{3F6AF678-B0AC-40F2-9298-5C08FC1CC904}" type="pres">
      <dgm:prSet presAssocID="{EEBF0629-E802-4A2E-A017-B86B79E1C0E9}" presName="Parent1" presStyleLbl="revTx" presStyleIdx="0" presStyleCnt="6" custScaleX="228833" custScaleY="10965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8011D82-009A-4659-BACF-DDE5D3BAC6D5}" type="pres">
      <dgm:prSet presAssocID="{9E757CA7-4055-45E2-8C48-7B27B883F801}" presName="Accent2" presStyleCnt="0"/>
      <dgm:spPr/>
    </dgm:pt>
    <dgm:pt modelId="{8776FE33-5264-4AF5-9604-3E3A3CAFDD8A}" type="pres">
      <dgm:prSet presAssocID="{9E757CA7-4055-45E2-8C48-7B27B883F801}" presName="Accent" presStyleLbl="node1" presStyleIdx="1" presStyleCnt="6" custScaleX="220460"/>
      <dgm:spPr/>
    </dgm:pt>
    <dgm:pt modelId="{164B27F0-2DFA-410E-AF29-D17F9038170E}" type="pres">
      <dgm:prSet presAssocID="{9E757CA7-4055-45E2-8C48-7B27B883F801}" presName="Parent2" presStyleLbl="revTx" presStyleIdx="1" presStyleCnt="6" custScaleX="351533" custScaleY="813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8FD1DC6-B1C8-4B54-917D-3017EA808955}" type="pres">
      <dgm:prSet presAssocID="{A474D8F6-BB55-41AC-8971-FBB8AC70199A}" presName="Accent3" presStyleCnt="0"/>
      <dgm:spPr/>
    </dgm:pt>
    <dgm:pt modelId="{6EBC6529-B2CA-46A7-A83F-B1B64A248AD9}" type="pres">
      <dgm:prSet presAssocID="{A474D8F6-BB55-41AC-8971-FBB8AC70199A}" presName="Accent" presStyleLbl="node1" presStyleIdx="2" presStyleCnt="6" custScaleX="219420"/>
      <dgm:spPr/>
    </dgm:pt>
    <dgm:pt modelId="{5D9A34DD-4480-447C-8547-472C9A2E94E4}" type="pres">
      <dgm:prSet presAssocID="{A474D8F6-BB55-41AC-8971-FBB8AC70199A}" presName="Parent3" presStyleLbl="revTx" presStyleIdx="2" presStyleCnt="6" custScaleX="281615" custScaleY="7819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A1FF1C4-B141-4A37-BB7C-B763B9BE2B9B}" type="pres">
      <dgm:prSet presAssocID="{9367AD80-BA0D-4E3F-A533-51EC7F162F0A}" presName="Accent4" presStyleCnt="0"/>
      <dgm:spPr/>
    </dgm:pt>
    <dgm:pt modelId="{2CF43178-7F3D-4C1D-88B5-2182C39F746A}" type="pres">
      <dgm:prSet presAssocID="{9367AD80-BA0D-4E3F-A533-51EC7F162F0A}" presName="Accent" presStyleLbl="node1" presStyleIdx="3" presStyleCnt="6" custScaleX="233050"/>
      <dgm:spPr/>
    </dgm:pt>
    <dgm:pt modelId="{A4BD0335-D13F-42D4-8AC7-230DEECB760D}" type="pres">
      <dgm:prSet presAssocID="{9367AD80-BA0D-4E3F-A533-51EC7F162F0A}" presName="Parent4" presStyleLbl="revTx" presStyleIdx="3" presStyleCnt="6" custScaleX="258653" custScaleY="15817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247B4A9-5D7A-4668-A1B0-7BDB84E9B5B4}" type="pres">
      <dgm:prSet presAssocID="{00A1AC7C-49A4-42A4-A956-48D9B5CFFD76}" presName="Accent5" presStyleCnt="0"/>
      <dgm:spPr/>
    </dgm:pt>
    <dgm:pt modelId="{DD0270F2-42AB-45BF-8C18-ABD126E11C3A}" type="pres">
      <dgm:prSet presAssocID="{00A1AC7C-49A4-42A4-A956-48D9B5CFFD76}" presName="Accent" presStyleLbl="node1" presStyleIdx="4" presStyleCnt="6" custScaleX="227264"/>
      <dgm:spPr/>
    </dgm:pt>
    <dgm:pt modelId="{8FD3CC24-9E05-48A0-8287-EF7AF229004B}" type="pres">
      <dgm:prSet presAssocID="{00A1AC7C-49A4-42A4-A956-48D9B5CFFD76}" presName="Parent5" presStyleLbl="revTx" presStyleIdx="4" presStyleCnt="6" custScaleX="26467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9272E25-693B-4A0D-8747-13DC03D8E092}" type="pres">
      <dgm:prSet presAssocID="{A28FCA59-12C4-4D16-9B2F-0567A35E3C46}" presName="Accent6" presStyleCnt="0"/>
      <dgm:spPr/>
    </dgm:pt>
    <dgm:pt modelId="{6E557F87-40C6-4BD3-B92C-4B73E063C1B2}" type="pres">
      <dgm:prSet presAssocID="{A28FCA59-12C4-4D16-9B2F-0567A35E3C46}" presName="Accent" presStyleLbl="node1" presStyleIdx="5" presStyleCnt="6" custScaleX="251779"/>
      <dgm:spPr/>
    </dgm:pt>
    <dgm:pt modelId="{5159060B-4298-407E-8746-852F7FA7776F}" type="pres">
      <dgm:prSet presAssocID="{A28FCA59-12C4-4D16-9B2F-0567A35E3C46}" presName="Parent6" presStyleLbl="revTx" presStyleIdx="5" presStyleCnt="6" custScaleX="239985" custScaleY="12256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9F0E603B-C3B0-46F8-9062-249F23891FB4}" srcId="{40862201-D39A-4A0D-84C9-02BA3BA5944D}" destId="{A28FCA59-12C4-4D16-9B2F-0567A35E3C46}" srcOrd="5" destOrd="0" parTransId="{AD4F4555-FFDE-4A03-BACD-3BF538CE5B6C}" sibTransId="{76EF8475-116F-496E-A3A3-141D935F5698}"/>
    <dgm:cxn modelId="{41481B3D-32EB-4930-A898-D73563250D79}" type="presOf" srcId="{00A1AC7C-49A4-42A4-A956-48D9B5CFFD76}" destId="{8FD3CC24-9E05-48A0-8287-EF7AF229004B}" srcOrd="0" destOrd="0" presId="urn:microsoft.com/office/officeart/2009/layout/CircleArrowProcess"/>
    <dgm:cxn modelId="{7B62014B-FDBF-4D8F-9695-44D19F909817}" type="presOf" srcId="{9E757CA7-4055-45E2-8C48-7B27B883F801}" destId="{164B27F0-2DFA-410E-AF29-D17F9038170E}" srcOrd="0" destOrd="0" presId="urn:microsoft.com/office/officeart/2009/layout/CircleArrowProcess"/>
    <dgm:cxn modelId="{0E8282C9-736C-459C-A922-1A472C0A9B5B}" type="presOf" srcId="{9367AD80-BA0D-4E3F-A533-51EC7F162F0A}" destId="{A4BD0335-D13F-42D4-8AC7-230DEECB760D}" srcOrd="0" destOrd="0" presId="urn:microsoft.com/office/officeart/2009/layout/CircleArrowProcess"/>
    <dgm:cxn modelId="{D55FCA2D-39A0-4431-860A-51D5300E8E19}" srcId="{40862201-D39A-4A0D-84C9-02BA3BA5944D}" destId="{A474D8F6-BB55-41AC-8971-FBB8AC70199A}" srcOrd="2" destOrd="0" parTransId="{9D806FE4-8165-4AE8-B670-45D59260A668}" sibTransId="{B32FBE54-0EE0-4CC8-97D9-E315AC27DD14}"/>
    <dgm:cxn modelId="{68751E7C-1C1E-4062-B29E-A653A2B727FD}" type="presOf" srcId="{A28FCA59-12C4-4D16-9B2F-0567A35E3C46}" destId="{5159060B-4298-407E-8746-852F7FA7776F}" srcOrd="0" destOrd="0" presId="urn:microsoft.com/office/officeart/2009/layout/CircleArrowProcess"/>
    <dgm:cxn modelId="{B5E3A1F0-3CE4-442A-9449-30F9FE9770C8}" type="presOf" srcId="{40862201-D39A-4A0D-84C9-02BA3BA5944D}" destId="{1459D807-B949-499A-9BF3-20C589008322}" srcOrd="0" destOrd="0" presId="urn:microsoft.com/office/officeart/2009/layout/CircleArrowProcess"/>
    <dgm:cxn modelId="{0EBB1CD1-3BEC-48F2-9B74-8D595ABD5B87}" srcId="{40862201-D39A-4A0D-84C9-02BA3BA5944D}" destId="{00A1AC7C-49A4-42A4-A956-48D9B5CFFD76}" srcOrd="4" destOrd="0" parTransId="{56F05CC2-3D7D-4C9F-9BF4-FD5F1F78DFA2}" sibTransId="{0A0C4528-B641-4FF7-AE60-2CC5654ABC28}"/>
    <dgm:cxn modelId="{40842FD4-8BF1-4C99-8788-B5AA7DC56904}" srcId="{40862201-D39A-4A0D-84C9-02BA3BA5944D}" destId="{EEBF0629-E802-4A2E-A017-B86B79E1C0E9}" srcOrd="0" destOrd="0" parTransId="{2B541A50-6E1B-4166-9B7C-BEBCF8F1CE92}" sibTransId="{4004BD76-EE19-44C4-A468-5401F829B466}"/>
    <dgm:cxn modelId="{25258D15-5B1C-4798-803D-C85B5BC4D176}" srcId="{40862201-D39A-4A0D-84C9-02BA3BA5944D}" destId="{9E757CA7-4055-45E2-8C48-7B27B883F801}" srcOrd="1" destOrd="0" parTransId="{08D9F305-3B90-4C1B-A1D6-EBE989CD1F83}" sibTransId="{38740D12-65D4-4D7B-89CC-84F9BC742351}"/>
    <dgm:cxn modelId="{CAD72323-60EA-4A41-8258-46EB44879FAF}" srcId="{40862201-D39A-4A0D-84C9-02BA3BA5944D}" destId="{9367AD80-BA0D-4E3F-A533-51EC7F162F0A}" srcOrd="3" destOrd="0" parTransId="{6F09DAA2-35EB-4803-BFEB-43D3A5EEC9FD}" sibTransId="{8362173E-B97E-427C-9570-ECC8C18D8587}"/>
    <dgm:cxn modelId="{ECB6DB34-98F3-4EC6-855F-65B4CB4ABE9A}" type="presOf" srcId="{A474D8F6-BB55-41AC-8971-FBB8AC70199A}" destId="{5D9A34DD-4480-447C-8547-472C9A2E94E4}" srcOrd="0" destOrd="0" presId="urn:microsoft.com/office/officeart/2009/layout/CircleArrowProcess"/>
    <dgm:cxn modelId="{5675C7DB-85B2-4CC2-A199-29BD4321733B}" type="presOf" srcId="{EEBF0629-E802-4A2E-A017-B86B79E1C0E9}" destId="{3F6AF678-B0AC-40F2-9298-5C08FC1CC904}" srcOrd="0" destOrd="0" presId="urn:microsoft.com/office/officeart/2009/layout/CircleArrowProcess"/>
    <dgm:cxn modelId="{C5C7C891-839E-47EF-8AF2-F8554B394522}" type="presParOf" srcId="{1459D807-B949-499A-9BF3-20C589008322}" destId="{4449DCBB-EAD9-4CBC-88D6-386474A6F91C}" srcOrd="0" destOrd="0" presId="urn:microsoft.com/office/officeart/2009/layout/CircleArrowProcess"/>
    <dgm:cxn modelId="{0A52A06B-7ECA-498A-AE1A-2E18E0747339}" type="presParOf" srcId="{4449DCBB-EAD9-4CBC-88D6-386474A6F91C}" destId="{BA7177CC-7D0E-45C0-9DEA-DAFF9E8F497D}" srcOrd="0" destOrd="0" presId="urn:microsoft.com/office/officeart/2009/layout/CircleArrowProcess"/>
    <dgm:cxn modelId="{689BB6DC-87EF-40B9-85ED-7E019BF708A3}" type="presParOf" srcId="{1459D807-B949-499A-9BF3-20C589008322}" destId="{3F6AF678-B0AC-40F2-9298-5C08FC1CC904}" srcOrd="1" destOrd="0" presId="urn:microsoft.com/office/officeart/2009/layout/CircleArrowProcess"/>
    <dgm:cxn modelId="{4BB7A32B-F092-42DA-AFB4-B8BB99AC36D6}" type="presParOf" srcId="{1459D807-B949-499A-9BF3-20C589008322}" destId="{E8011D82-009A-4659-BACF-DDE5D3BAC6D5}" srcOrd="2" destOrd="0" presId="urn:microsoft.com/office/officeart/2009/layout/CircleArrowProcess"/>
    <dgm:cxn modelId="{4D936953-33E2-47D2-9EEC-0E27002F1FD6}" type="presParOf" srcId="{E8011D82-009A-4659-BACF-DDE5D3BAC6D5}" destId="{8776FE33-5264-4AF5-9604-3E3A3CAFDD8A}" srcOrd="0" destOrd="0" presId="urn:microsoft.com/office/officeart/2009/layout/CircleArrowProcess"/>
    <dgm:cxn modelId="{CA784C4E-38EE-4B6C-A622-66EA199E1962}" type="presParOf" srcId="{1459D807-B949-499A-9BF3-20C589008322}" destId="{164B27F0-2DFA-410E-AF29-D17F9038170E}" srcOrd="3" destOrd="0" presId="urn:microsoft.com/office/officeart/2009/layout/CircleArrowProcess"/>
    <dgm:cxn modelId="{8B547493-DE4A-4E74-93F0-BFF7B301C2CE}" type="presParOf" srcId="{1459D807-B949-499A-9BF3-20C589008322}" destId="{48FD1DC6-B1C8-4B54-917D-3017EA808955}" srcOrd="4" destOrd="0" presId="urn:microsoft.com/office/officeart/2009/layout/CircleArrowProcess"/>
    <dgm:cxn modelId="{425BA742-543F-43DE-A231-8D9DCC85CB4B}" type="presParOf" srcId="{48FD1DC6-B1C8-4B54-917D-3017EA808955}" destId="{6EBC6529-B2CA-46A7-A83F-B1B64A248AD9}" srcOrd="0" destOrd="0" presId="urn:microsoft.com/office/officeart/2009/layout/CircleArrowProcess"/>
    <dgm:cxn modelId="{B2CF7C7E-455E-44CC-A66D-01F9F5CCACB9}" type="presParOf" srcId="{1459D807-B949-499A-9BF3-20C589008322}" destId="{5D9A34DD-4480-447C-8547-472C9A2E94E4}" srcOrd="5" destOrd="0" presId="urn:microsoft.com/office/officeart/2009/layout/CircleArrowProcess"/>
    <dgm:cxn modelId="{03DFF10B-36AE-469C-85F0-33D26BEBA300}" type="presParOf" srcId="{1459D807-B949-499A-9BF3-20C589008322}" destId="{5A1FF1C4-B141-4A37-BB7C-B763B9BE2B9B}" srcOrd="6" destOrd="0" presId="urn:microsoft.com/office/officeart/2009/layout/CircleArrowProcess"/>
    <dgm:cxn modelId="{3900E37F-69EB-43E4-A485-43DE513F3C01}" type="presParOf" srcId="{5A1FF1C4-B141-4A37-BB7C-B763B9BE2B9B}" destId="{2CF43178-7F3D-4C1D-88B5-2182C39F746A}" srcOrd="0" destOrd="0" presId="urn:microsoft.com/office/officeart/2009/layout/CircleArrowProcess"/>
    <dgm:cxn modelId="{424EB7DE-AD98-4529-B5D7-C02B93007A7F}" type="presParOf" srcId="{1459D807-B949-499A-9BF3-20C589008322}" destId="{A4BD0335-D13F-42D4-8AC7-230DEECB760D}" srcOrd="7" destOrd="0" presId="urn:microsoft.com/office/officeart/2009/layout/CircleArrowProcess"/>
    <dgm:cxn modelId="{ACDE8F26-C7EA-4F9E-AB94-FBB4E3C77D45}" type="presParOf" srcId="{1459D807-B949-499A-9BF3-20C589008322}" destId="{9247B4A9-5D7A-4668-A1B0-7BDB84E9B5B4}" srcOrd="8" destOrd="0" presId="urn:microsoft.com/office/officeart/2009/layout/CircleArrowProcess"/>
    <dgm:cxn modelId="{6452ED1B-A297-45CA-8329-3DF447E774ED}" type="presParOf" srcId="{9247B4A9-5D7A-4668-A1B0-7BDB84E9B5B4}" destId="{DD0270F2-42AB-45BF-8C18-ABD126E11C3A}" srcOrd="0" destOrd="0" presId="urn:microsoft.com/office/officeart/2009/layout/CircleArrowProcess"/>
    <dgm:cxn modelId="{D9600E8C-2912-4504-81C1-A16A6E3A31B7}" type="presParOf" srcId="{1459D807-B949-499A-9BF3-20C589008322}" destId="{8FD3CC24-9E05-48A0-8287-EF7AF229004B}" srcOrd="9" destOrd="0" presId="urn:microsoft.com/office/officeart/2009/layout/CircleArrowProcess"/>
    <dgm:cxn modelId="{725A7B4B-9872-483B-88F1-F0C18F905A20}" type="presParOf" srcId="{1459D807-B949-499A-9BF3-20C589008322}" destId="{B9272E25-693B-4A0D-8747-13DC03D8E092}" srcOrd="10" destOrd="0" presId="urn:microsoft.com/office/officeart/2009/layout/CircleArrowProcess"/>
    <dgm:cxn modelId="{4AD04F95-0E31-42E7-A0DA-86737B82155F}" type="presParOf" srcId="{B9272E25-693B-4A0D-8747-13DC03D8E092}" destId="{6E557F87-40C6-4BD3-B92C-4B73E063C1B2}" srcOrd="0" destOrd="0" presId="urn:microsoft.com/office/officeart/2009/layout/CircleArrowProcess"/>
    <dgm:cxn modelId="{E5AA873B-2D41-4FCB-991F-553D88DB0EBF}" type="presParOf" srcId="{1459D807-B949-499A-9BF3-20C589008322}" destId="{5159060B-4298-407E-8746-852F7FA7776F}" srcOrd="11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ORGANIZACIÓN</a:t>
          </a:r>
          <a:endParaRPr lang="es-CO" sz="18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endParaRPr lang="es-CO"/>
        </a:p>
      </dgm:t>
    </dgm:pt>
    <dgm:pt modelId="{129460C4-69D5-4817-9B5E-DC367C31ABCC}">
      <dgm:prSet phldrT="[Texto]" custT="1"/>
      <dgm:spPr/>
      <dgm:t>
        <a:bodyPr/>
        <a:lstStyle/>
        <a:p>
          <a:r>
            <a:rPr lang="es-CO" sz="1600" dirty="0" smtClean="0"/>
            <a:t>Lograr posicionamiento   y empoderamiento de la FTDH. </a:t>
          </a:r>
          <a:endParaRPr lang="es-CO" sz="16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endParaRPr lang="es-CO"/>
        </a:p>
      </dgm:t>
    </dgm:pt>
    <dgm:pt modelId="{12EB48E0-C150-476F-ADD2-2FF4CF160EA4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ASISTENCIA TECNICA /INSPECCION Y VIGILANCIA</a:t>
          </a:r>
          <a:endParaRPr lang="es-CO" sz="1800" b="1" dirty="0">
            <a:solidFill>
              <a:srgbClr val="C00000"/>
            </a:solidFill>
          </a:endParaRPr>
        </a:p>
      </dgm:t>
    </dgm:pt>
    <dgm:pt modelId="{E1478186-3752-42C7-B67A-AE9571627ED7}" type="parTrans" cxnId="{2342E131-3524-4411-979C-1AA3421D0F3A}">
      <dgm:prSet/>
      <dgm:spPr/>
      <dgm:t>
        <a:bodyPr/>
        <a:lstStyle/>
        <a:p>
          <a:endParaRPr lang="es-CO"/>
        </a:p>
      </dgm:t>
    </dgm:pt>
    <dgm:pt modelId="{B8AA3DAE-7696-4937-9B6D-D9297B0ECE4C}" type="sibTrans" cxnId="{2342E131-3524-4411-979C-1AA3421D0F3A}">
      <dgm:prSet/>
      <dgm:spPr/>
      <dgm:t>
        <a:bodyPr/>
        <a:lstStyle/>
        <a:p>
          <a:endParaRPr lang="es-CO"/>
        </a:p>
      </dgm:t>
    </dgm:pt>
    <dgm:pt modelId="{E6F494A8-8B96-40B4-AF10-D1683F210D0A}">
      <dgm:prSet phldrT="[Texto]" custT="1"/>
      <dgm:spPr/>
      <dgm:t>
        <a:bodyPr/>
        <a:lstStyle/>
        <a:p>
          <a:r>
            <a:rPr lang="es-ES_tradnl" sz="1600" dirty="0" smtClean="0"/>
            <a:t>Solucionar las debilidades en las áreas de Inspección y Vigilancia y calidad para calificar y acompañar  a las IETDH.</a:t>
          </a:r>
          <a:endParaRPr lang="es-CO" sz="1600" dirty="0"/>
        </a:p>
      </dgm:t>
    </dgm:pt>
    <dgm:pt modelId="{C8B11C01-717B-4AC8-BE49-8AC895918EDB}" type="parTrans" cxnId="{D40797B6-AEBE-417C-A15B-ADFFE83B3BD9}">
      <dgm:prSet/>
      <dgm:spPr/>
      <dgm:t>
        <a:bodyPr/>
        <a:lstStyle/>
        <a:p>
          <a:endParaRPr lang="es-CO"/>
        </a:p>
      </dgm:t>
    </dgm:pt>
    <dgm:pt modelId="{D7793D13-5ED1-402E-A17C-BAA09DFCD660}" type="sibTrans" cxnId="{D40797B6-AEBE-417C-A15B-ADFFE83B3BD9}">
      <dgm:prSet/>
      <dgm:spPr/>
      <dgm:t>
        <a:bodyPr/>
        <a:lstStyle/>
        <a:p>
          <a:endParaRPr lang="es-CO"/>
        </a:p>
      </dgm:t>
    </dgm:pt>
    <dgm:pt modelId="{7B9DC4D4-368C-4F71-A935-AB1B0409E6B4}">
      <dgm:prSet custT="1"/>
      <dgm:spPr/>
      <dgm:t>
        <a:bodyPr/>
        <a:lstStyle/>
        <a:p>
          <a:r>
            <a:rPr lang="es-ES_tradnl" sz="1600" dirty="0" smtClean="0"/>
            <a:t>Mayor interacción entre el MEN y la Entidad Territorial.</a:t>
          </a:r>
          <a:r>
            <a:rPr lang="es-ES_tradnl" sz="1600" b="1" dirty="0" smtClean="0"/>
            <a:t> </a:t>
          </a:r>
          <a:endParaRPr lang="es-CO" sz="1600" dirty="0"/>
        </a:p>
      </dgm:t>
    </dgm:pt>
    <dgm:pt modelId="{53304724-30FF-426D-97FF-C89B8AA44ADE}" type="parTrans" cxnId="{21CDCFFF-14FC-4965-A5AF-6E5E7FC4CF28}">
      <dgm:prSet/>
      <dgm:spPr/>
      <dgm:t>
        <a:bodyPr/>
        <a:lstStyle/>
        <a:p>
          <a:endParaRPr lang="es-CO"/>
        </a:p>
      </dgm:t>
    </dgm:pt>
    <dgm:pt modelId="{10A05EF0-87B1-4957-88C5-DAB9C4EB4A8B}" type="sibTrans" cxnId="{21CDCFFF-14FC-4965-A5AF-6E5E7FC4CF28}">
      <dgm:prSet/>
      <dgm:spPr/>
      <dgm:t>
        <a:bodyPr/>
        <a:lstStyle/>
        <a:p>
          <a:endParaRPr lang="es-CO"/>
        </a:p>
      </dgm:t>
    </dgm:pt>
    <dgm:pt modelId="{E75C7AA6-033C-4C51-916E-082E768177D7}">
      <dgm:prSet custT="1"/>
      <dgm:spPr/>
      <dgm:t>
        <a:bodyPr/>
        <a:lstStyle/>
        <a:p>
          <a:r>
            <a:rPr lang="es-CO" sz="1600" dirty="0" smtClean="0"/>
            <a:t>Consolidar S</a:t>
          </a:r>
          <a:r>
            <a:rPr lang="es-MX" sz="1600" dirty="0" err="1" smtClean="0"/>
            <a:t>istema</a:t>
          </a:r>
          <a:r>
            <a:rPr lang="es-MX" sz="1600" dirty="0" smtClean="0"/>
            <a:t> de  Formación para el Trabajo desde el MEN y logre instalar capacidad en la SE</a:t>
          </a:r>
          <a:endParaRPr lang="es-CO" sz="1600" dirty="0"/>
        </a:p>
      </dgm:t>
    </dgm:pt>
    <dgm:pt modelId="{6FBDA284-FE00-4F3B-9BFA-9031697B12F2}" type="parTrans" cxnId="{CDF2A636-AAB6-469C-AABF-6D63CC70096C}">
      <dgm:prSet/>
      <dgm:spPr/>
      <dgm:t>
        <a:bodyPr/>
        <a:lstStyle/>
        <a:p>
          <a:endParaRPr lang="es-CO"/>
        </a:p>
      </dgm:t>
    </dgm:pt>
    <dgm:pt modelId="{D1659981-3C69-4FD0-B273-197EF91356BA}" type="sibTrans" cxnId="{CDF2A636-AAB6-469C-AABF-6D63CC70096C}">
      <dgm:prSet/>
      <dgm:spPr/>
      <dgm:t>
        <a:bodyPr/>
        <a:lstStyle/>
        <a:p>
          <a:endParaRPr lang="es-CO"/>
        </a:p>
      </dgm:t>
    </dgm:pt>
    <dgm:pt modelId="{CAA6D0A3-933F-4821-895A-E9E9A387298C}">
      <dgm:prSet custT="1"/>
      <dgm:spPr/>
      <dgm:t>
        <a:bodyPr/>
        <a:lstStyle/>
        <a:p>
          <a:r>
            <a:rPr lang="es-CO" sz="1600" b="1" dirty="0" smtClean="0"/>
            <a:t>Definir estructura y organización de la</a:t>
          </a:r>
          <a:r>
            <a:rPr lang="es-CO" sz="1600" dirty="0" smtClean="0"/>
            <a:t> ET</a:t>
          </a:r>
          <a:endParaRPr lang="es-CO" sz="1600" dirty="0"/>
        </a:p>
      </dgm:t>
    </dgm:pt>
    <dgm:pt modelId="{A0AA4F2A-23A5-4CA0-990E-8E6040881C8E}" type="parTrans" cxnId="{48C8FEA4-0EB8-4E6C-BB3D-10DDDC9872ED}">
      <dgm:prSet/>
      <dgm:spPr/>
      <dgm:t>
        <a:bodyPr/>
        <a:lstStyle/>
        <a:p>
          <a:endParaRPr lang="es-CO"/>
        </a:p>
      </dgm:t>
    </dgm:pt>
    <dgm:pt modelId="{F85BCD07-AEEE-4715-8677-0C055B73F698}" type="sibTrans" cxnId="{48C8FEA4-0EB8-4E6C-BB3D-10DDDC9872ED}">
      <dgm:prSet/>
      <dgm:spPr/>
      <dgm:t>
        <a:bodyPr/>
        <a:lstStyle/>
        <a:p>
          <a:endParaRPr lang="es-CO"/>
        </a:p>
      </dgm:t>
    </dgm:pt>
    <dgm:pt modelId="{18E08DCA-BD24-4426-B0BB-A2B68213C896}">
      <dgm:prSet custT="1"/>
      <dgm:spPr/>
      <dgm:t>
        <a:bodyPr/>
        <a:lstStyle/>
        <a:p>
          <a:r>
            <a:rPr lang="es-ES_tradnl" sz="1600" dirty="0" smtClean="0"/>
            <a:t>Fortalecer los equipos de las Secretarías de Educación para atender esta responsabilidad.</a:t>
          </a:r>
          <a:endParaRPr lang="es-CO" sz="1600" dirty="0"/>
        </a:p>
      </dgm:t>
    </dgm:pt>
    <dgm:pt modelId="{7AFEC964-5B4B-47BE-BF85-4BA1D8A1E4A9}" type="parTrans" cxnId="{82E404D8-6DEC-4E11-B7F8-B3493D9B5E02}">
      <dgm:prSet/>
      <dgm:spPr/>
      <dgm:t>
        <a:bodyPr/>
        <a:lstStyle/>
        <a:p>
          <a:endParaRPr lang="es-CO"/>
        </a:p>
      </dgm:t>
    </dgm:pt>
    <dgm:pt modelId="{1310D67A-1895-4357-BB6B-D4BFF1F11E15}" type="sibTrans" cxnId="{82E404D8-6DEC-4E11-B7F8-B3493D9B5E02}">
      <dgm:prSet/>
      <dgm:spPr/>
      <dgm:t>
        <a:bodyPr/>
        <a:lstStyle/>
        <a:p>
          <a:endParaRPr lang="es-CO"/>
        </a:p>
      </dgm:t>
    </dgm:pt>
    <dgm:pt modelId="{48FB4929-53D1-478A-952B-832347F57377}">
      <dgm:prSet custT="1"/>
      <dgm:spPr/>
      <dgm:t>
        <a:bodyPr/>
        <a:lstStyle/>
        <a:p>
          <a:r>
            <a:rPr lang="es-CO" sz="1600" dirty="0" smtClean="0"/>
            <a:t>Contar con recurso humano idóneo para evaluación y seguimiento</a:t>
          </a:r>
          <a:endParaRPr lang="es-CO" sz="1600" dirty="0"/>
        </a:p>
      </dgm:t>
    </dgm:pt>
    <dgm:pt modelId="{5B1BA447-A994-41CE-A451-09A5EBB1B388}" type="parTrans" cxnId="{CB1EA18E-94A7-47CA-9157-9EA9BDDC9F7F}">
      <dgm:prSet/>
      <dgm:spPr/>
      <dgm:t>
        <a:bodyPr/>
        <a:lstStyle/>
        <a:p>
          <a:endParaRPr lang="es-CO"/>
        </a:p>
      </dgm:t>
    </dgm:pt>
    <dgm:pt modelId="{9B19025E-16CE-413A-8D6A-64A0C8F52AFD}" type="sibTrans" cxnId="{CB1EA18E-94A7-47CA-9157-9EA9BDDC9F7F}">
      <dgm:prSet/>
      <dgm:spPr/>
      <dgm:t>
        <a:bodyPr/>
        <a:lstStyle/>
        <a:p>
          <a:endParaRPr lang="es-CO"/>
        </a:p>
      </dgm:t>
    </dgm:pt>
    <dgm:pt modelId="{63A8054C-102A-456F-BEAD-DDC9FDEDA503}">
      <dgm:prSet custT="1"/>
      <dgm:spPr/>
      <dgm:t>
        <a:bodyPr/>
        <a:lstStyle/>
        <a:p>
          <a:r>
            <a:rPr lang="es-CO" sz="1600" dirty="0" smtClean="0"/>
            <a:t>Brindar desde el MEN capacitación a las SE para asumir asistencia técnica.</a:t>
          </a:r>
          <a:endParaRPr lang="es-CO" sz="1600" dirty="0"/>
        </a:p>
      </dgm:t>
    </dgm:pt>
    <dgm:pt modelId="{673F46E2-714F-4E7D-9B73-9EAED6ECCE66}" type="parTrans" cxnId="{60213CBB-B802-4096-8342-67790556C276}">
      <dgm:prSet/>
      <dgm:spPr/>
      <dgm:t>
        <a:bodyPr/>
        <a:lstStyle/>
        <a:p>
          <a:endParaRPr lang="es-CO"/>
        </a:p>
      </dgm:t>
    </dgm:pt>
    <dgm:pt modelId="{2D4DC880-A645-4657-9F46-8BC24307AF65}" type="sibTrans" cxnId="{60213CBB-B802-4096-8342-67790556C276}">
      <dgm:prSet/>
      <dgm:spPr/>
      <dgm:t>
        <a:bodyPr/>
        <a:lstStyle/>
        <a:p>
          <a:endParaRPr lang="es-CO"/>
        </a:p>
      </dgm:t>
    </dgm:pt>
    <dgm:pt modelId="{2CE364C5-E0E1-451C-86A5-5D70F86B1453}">
      <dgm:prSet custT="1"/>
      <dgm:spPr/>
      <dgm:t>
        <a:bodyPr/>
        <a:lstStyle/>
        <a:p>
          <a:endParaRPr lang="es-CO" sz="1400" dirty="0"/>
        </a:p>
      </dgm:t>
    </dgm:pt>
    <dgm:pt modelId="{7E74D03B-F76F-498A-9AEF-1AE0E63F449E}" type="parTrans" cxnId="{1A037A55-D108-4210-A9FD-492EF82A31A5}">
      <dgm:prSet/>
      <dgm:spPr/>
      <dgm:t>
        <a:bodyPr/>
        <a:lstStyle/>
        <a:p>
          <a:endParaRPr lang="es-CO"/>
        </a:p>
      </dgm:t>
    </dgm:pt>
    <dgm:pt modelId="{0753B505-117A-4D0D-9B6F-CF19C6F87736}" type="sibTrans" cxnId="{1A037A55-D108-4210-A9FD-492EF82A31A5}">
      <dgm:prSet/>
      <dgm:spPr/>
      <dgm:t>
        <a:bodyPr/>
        <a:lstStyle/>
        <a:p>
          <a:endParaRPr lang="es-CO"/>
        </a:p>
      </dgm:t>
    </dgm:pt>
    <dgm:pt modelId="{2355CC65-6AA3-4742-A06E-0305A19F15FB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C6892745-F6CE-48E3-B13F-0BD8DB78FF09}" type="pres">
      <dgm:prSet presAssocID="{55554ABE-44B4-4DC6-BC6D-E31A8BACD25E}" presName="parentLin" presStyleCnt="0"/>
      <dgm:spPr/>
    </dgm:pt>
    <dgm:pt modelId="{A42C596C-00AE-4543-9F69-F2562C2AEE60}" type="pres">
      <dgm:prSet presAssocID="{55554ABE-44B4-4DC6-BC6D-E31A8BACD25E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C5A07561-FDBD-4F9E-98C4-FFE0066B356F}" type="pres">
      <dgm:prSet presAssocID="{55554ABE-44B4-4DC6-BC6D-E31A8BACD25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84E7C34-A837-4854-800F-561535F0108B}" type="pres">
      <dgm:prSet presAssocID="{55554ABE-44B4-4DC6-BC6D-E31A8BACD25E}" presName="negativeSpace" presStyleCnt="0"/>
      <dgm:spPr/>
    </dgm:pt>
    <dgm:pt modelId="{2C1C7BD4-C64F-43A1-93D1-DD80AD9D2D0B}" type="pres">
      <dgm:prSet presAssocID="{55554ABE-44B4-4DC6-BC6D-E31A8BACD25E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ECE24EC-475A-4EEB-8855-D57EF34D9F09}" type="pres">
      <dgm:prSet presAssocID="{06D8D9AA-2750-45CA-BEFB-A8C036D1CAB3}" presName="spaceBetweenRectangles" presStyleCnt="0"/>
      <dgm:spPr/>
    </dgm:pt>
    <dgm:pt modelId="{D15B5CDA-592D-4300-A3A1-70976BD54305}" type="pres">
      <dgm:prSet presAssocID="{12EB48E0-C150-476F-ADD2-2FF4CF160EA4}" presName="parentLin" presStyleCnt="0"/>
      <dgm:spPr/>
    </dgm:pt>
    <dgm:pt modelId="{00015392-8FBD-4E86-9731-5271EFFA4625}" type="pres">
      <dgm:prSet presAssocID="{12EB48E0-C150-476F-ADD2-2FF4CF160EA4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C17E2D99-9489-456E-97E3-D967472EAAD2}" type="pres">
      <dgm:prSet presAssocID="{12EB48E0-C150-476F-ADD2-2FF4CF160EA4}" presName="parentText" presStyleLbl="node1" presStyleIdx="1" presStyleCnt="2" custScaleY="139837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FDFCC20-7E55-4208-B48C-27045F721D42}" type="pres">
      <dgm:prSet presAssocID="{12EB48E0-C150-476F-ADD2-2FF4CF160EA4}" presName="negativeSpace" presStyleCnt="0"/>
      <dgm:spPr/>
    </dgm:pt>
    <dgm:pt modelId="{FF3B3633-D802-4A33-93EF-DF8BCCA949EB}" type="pres">
      <dgm:prSet presAssocID="{12EB48E0-C150-476F-ADD2-2FF4CF160EA4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DF2A636-AAB6-469C-AABF-6D63CC70096C}" srcId="{55554ABE-44B4-4DC6-BC6D-E31A8BACD25E}" destId="{E75C7AA6-033C-4C51-916E-082E768177D7}" srcOrd="2" destOrd="0" parTransId="{6FBDA284-FE00-4F3B-9BFA-9031697B12F2}" sibTransId="{D1659981-3C69-4FD0-B273-197EF91356BA}"/>
    <dgm:cxn modelId="{D902CCEB-8407-4E36-A4C8-C3ADC46EF0F2}" type="presOf" srcId="{7B9DC4D4-368C-4F71-A935-AB1B0409E6B4}" destId="{2C1C7BD4-C64F-43A1-93D1-DD80AD9D2D0B}" srcOrd="0" destOrd="1" presId="urn:microsoft.com/office/officeart/2005/8/layout/list1"/>
    <dgm:cxn modelId="{D40797B6-AEBE-417C-A15B-ADFFE83B3BD9}" srcId="{12EB48E0-C150-476F-ADD2-2FF4CF160EA4}" destId="{E6F494A8-8B96-40B4-AF10-D1683F210D0A}" srcOrd="0" destOrd="0" parTransId="{C8B11C01-717B-4AC8-BE49-8AC895918EDB}" sibTransId="{D7793D13-5ED1-402E-A17C-BAA09DFCD660}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82E404D8-6DEC-4E11-B7F8-B3493D9B5E02}" srcId="{55554ABE-44B4-4DC6-BC6D-E31A8BACD25E}" destId="{18E08DCA-BD24-4426-B0BB-A2B68213C896}" srcOrd="4" destOrd="0" parTransId="{7AFEC964-5B4B-47BE-BF85-4BA1D8A1E4A9}" sibTransId="{1310D67A-1895-4357-BB6B-D4BFF1F11E15}"/>
    <dgm:cxn modelId="{66476AAF-E49E-4CC8-958B-EC9675CD10E6}" type="presOf" srcId="{E6F494A8-8B96-40B4-AF10-D1683F210D0A}" destId="{FF3B3633-D802-4A33-93EF-DF8BCCA949EB}" srcOrd="0" destOrd="0" presId="urn:microsoft.com/office/officeart/2005/8/layout/list1"/>
    <dgm:cxn modelId="{26CE7440-4D5C-405D-8526-32BE44D8543E}" type="presOf" srcId="{55554ABE-44B4-4DC6-BC6D-E31A8BACD25E}" destId="{A42C596C-00AE-4543-9F69-F2562C2AEE60}" srcOrd="0" destOrd="0" presId="urn:microsoft.com/office/officeart/2005/8/layout/list1"/>
    <dgm:cxn modelId="{CB1EA18E-94A7-47CA-9157-9EA9BDDC9F7F}" srcId="{55554ABE-44B4-4DC6-BC6D-E31A8BACD25E}" destId="{48FB4929-53D1-478A-952B-832347F57377}" srcOrd="5" destOrd="0" parTransId="{5B1BA447-A994-41CE-A451-09A5EBB1B388}" sibTransId="{9B19025E-16CE-413A-8D6A-64A0C8F52AFD}"/>
    <dgm:cxn modelId="{60213CBB-B802-4096-8342-67790556C276}" srcId="{12EB48E0-C150-476F-ADD2-2FF4CF160EA4}" destId="{63A8054C-102A-456F-BEAD-DDC9FDEDA503}" srcOrd="1" destOrd="0" parTransId="{673F46E2-714F-4E7D-9B73-9EAED6ECCE66}" sibTransId="{2D4DC880-A645-4657-9F46-8BC24307AF65}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F1639724-2379-4141-A65A-377439D17F02}" type="presOf" srcId="{CAA6D0A3-933F-4821-895A-E9E9A387298C}" destId="{2C1C7BD4-C64F-43A1-93D1-DD80AD9D2D0B}" srcOrd="0" destOrd="3" presId="urn:microsoft.com/office/officeart/2005/8/layout/list1"/>
    <dgm:cxn modelId="{5F078B5B-D11A-424D-9F8B-72BCFD32F9A8}" type="presOf" srcId="{12EB48E0-C150-476F-ADD2-2FF4CF160EA4}" destId="{00015392-8FBD-4E86-9731-5271EFFA4625}" srcOrd="0" destOrd="0" presId="urn:microsoft.com/office/officeart/2005/8/layout/list1"/>
    <dgm:cxn modelId="{1A037A55-D108-4210-A9FD-492EF82A31A5}" srcId="{12EB48E0-C150-476F-ADD2-2FF4CF160EA4}" destId="{2CE364C5-E0E1-451C-86A5-5D70F86B1453}" srcOrd="2" destOrd="0" parTransId="{7E74D03B-F76F-498A-9AEF-1AE0E63F449E}" sibTransId="{0753B505-117A-4D0D-9B6F-CF19C6F87736}"/>
    <dgm:cxn modelId="{070298BE-76D4-4F2F-B68C-0CABC06AEAB2}" type="presOf" srcId="{63A8054C-102A-456F-BEAD-DDC9FDEDA503}" destId="{FF3B3633-D802-4A33-93EF-DF8BCCA949EB}" srcOrd="0" destOrd="1" presId="urn:microsoft.com/office/officeart/2005/8/layout/list1"/>
    <dgm:cxn modelId="{219AA16C-C948-46C4-983A-5A645FE76576}" type="presOf" srcId="{12EB48E0-C150-476F-ADD2-2FF4CF160EA4}" destId="{C17E2D99-9489-456E-97E3-D967472EAAD2}" srcOrd="1" destOrd="0" presId="urn:microsoft.com/office/officeart/2005/8/layout/list1"/>
    <dgm:cxn modelId="{CDA66883-A66C-47A9-B114-6460FA25C33E}" type="presOf" srcId="{2CE364C5-E0E1-451C-86A5-5D70F86B1453}" destId="{FF3B3633-D802-4A33-93EF-DF8BCCA949EB}" srcOrd="0" destOrd="2" presId="urn:microsoft.com/office/officeart/2005/8/layout/list1"/>
    <dgm:cxn modelId="{16ECB95B-C89A-44D2-A6DF-CA4A361783A2}" type="presOf" srcId="{48FB4929-53D1-478A-952B-832347F57377}" destId="{2C1C7BD4-C64F-43A1-93D1-DD80AD9D2D0B}" srcOrd="0" destOrd="5" presId="urn:microsoft.com/office/officeart/2005/8/layout/list1"/>
    <dgm:cxn modelId="{E2936182-EE7E-4FCC-9C2C-DF5C1013660C}" type="presOf" srcId="{70E7E4ED-4075-4C79-892B-59713DE3656D}" destId="{2355CC65-6AA3-4742-A06E-0305A19F15FB}" srcOrd="0" destOrd="0" presId="urn:microsoft.com/office/officeart/2005/8/layout/list1"/>
    <dgm:cxn modelId="{21CDCFFF-14FC-4965-A5AF-6E5E7FC4CF28}" srcId="{55554ABE-44B4-4DC6-BC6D-E31A8BACD25E}" destId="{7B9DC4D4-368C-4F71-A935-AB1B0409E6B4}" srcOrd="1" destOrd="0" parTransId="{53304724-30FF-426D-97FF-C89B8AA44ADE}" sibTransId="{10A05EF0-87B1-4957-88C5-DAB9C4EB4A8B}"/>
    <dgm:cxn modelId="{E727BDAD-A280-4873-A41F-A7C5A61DE31C}" type="presOf" srcId="{129460C4-69D5-4817-9B5E-DC367C31ABCC}" destId="{2C1C7BD4-C64F-43A1-93D1-DD80AD9D2D0B}" srcOrd="0" destOrd="0" presId="urn:microsoft.com/office/officeart/2005/8/layout/list1"/>
    <dgm:cxn modelId="{2342E131-3524-4411-979C-1AA3421D0F3A}" srcId="{70E7E4ED-4075-4C79-892B-59713DE3656D}" destId="{12EB48E0-C150-476F-ADD2-2FF4CF160EA4}" srcOrd="1" destOrd="0" parTransId="{E1478186-3752-42C7-B67A-AE9571627ED7}" sibTransId="{B8AA3DAE-7696-4937-9B6D-D9297B0ECE4C}"/>
    <dgm:cxn modelId="{6EC6898D-5617-4364-BEBB-ACAF3F27CD01}" type="presOf" srcId="{E75C7AA6-033C-4C51-916E-082E768177D7}" destId="{2C1C7BD4-C64F-43A1-93D1-DD80AD9D2D0B}" srcOrd="0" destOrd="2" presId="urn:microsoft.com/office/officeart/2005/8/layout/list1"/>
    <dgm:cxn modelId="{C4496A0F-63EE-4EB7-90C8-B678168288DE}" type="presOf" srcId="{55554ABE-44B4-4DC6-BC6D-E31A8BACD25E}" destId="{C5A07561-FDBD-4F9E-98C4-FFE0066B356F}" srcOrd="1" destOrd="0" presId="urn:microsoft.com/office/officeart/2005/8/layout/list1"/>
    <dgm:cxn modelId="{48C8FEA4-0EB8-4E6C-BB3D-10DDDC9872ED}" srcId="{55554ABE-44B4-4DC6-BC6D-E31A8BACD25E}" destId="{CAA6D0A3-933F-4821-895A-E9E9A387298C}" srcOrd="3" destOrd="0" parTransId="{A0AA4F2A-23A5-4CA0-990E-8E6040881C8E}" sibTransId="{F85BCD07-AEEE-4715-8677-0C055B73F698}"/>
    <dgm:cxn modelId="{9720CE48-796D-4683-B762-687A90E46538}" type="presOf" srcId="{18E08DCA-BD24-4426-B0BB-A2B68213C896}" destId="{2C1C7BD4-C64F-43A1-93D1-DD80AD9D2D0B}" srcOrd="0" destOrd="4" presId="urn:microsoft.com/office/officeart/2005/8/layout/list1"/>
    <dgm:cxn modelId="{29D0DF60-D772-4737-BBD1-349A99DBFD2F}" type="presParOf" srcId="{2355CC65-6AA3-4742-A06E-0305A19F15FB}" destId="{C6892745-F6CE-48E3-B13F-0BD8DB78FF09}" srcOrd="0" destOrd="0" presId="urn:microsoft.com/office/officeart/2005/8/layout/list1"/>
    <dgm:cxn modelId="{9937E6EC-63E4-4A00-8787-87EFF47B8CB8}" type="presParOf" srcId="{C6892745-F6CE-48E3-B13F-0BD8DB78FF09}" destId="{A42C596C-00AE-4543-9F69-F2562C2AEE60}" srcOrd="0" destOrd="0" presId="urn:microsoft.com/office/officeart/2005/8/layout/list1"/>
    <dgm:cxn modelId="{F5B8D4A5-B446-4B71-BEC9-0DC1E412CE08}" type="presParOf" srcId="{C6892745-F6CE-48E3-B13F-0BD8DB78FF09}" destId="{C5A07561-FDBD-4F9E-98C4-FFE0066B356F}" srcOrd="1" destOrd="0" presId="urn:microsoft.com/office/officeart/2005/8/layout/list1"/>
    <dgm:cxn modelId="{DB464BF4-3277-4CF0-A6E9-4E1B4282EF7B}" type="presParOf" srcId="{2355CC65-6AA3-4742-A06E-0305A19F15FB}" destId="{884E7C34-A837-4854-800F-561535F0108B}" srcOrd="1" destOrd="0" presId="urn:microsoft.com/office/officeart/2005/8/layout/list1"/>
    <dgm:cxn modelId="{1288B2B9-237F-43B9-86C6-8A8952A562A1}" type="presParOf" srcId="{2355CC65-6AA3-4742-A06E-0305A19F15FB}" destId="{2C1C7BD4-C64F-43A1-93D1-DD80AD9D2D0B}" srcOrd="2" destOrd="0" presId="urn:microsoft.com/office/officeart/2005/8/layout/list1"/>
    <dgm:cxn modelId="{20F7F8F4-D78D-4B9E-974A-E03E17EFCD65}" type="presParOf" srcId="{2355CC65-6AA3-4742-A06E-0305A19F15FB}" destId="{DECE24EC-475A-4EEB-8855-D57EF34D9F09}" srcOrd="3" destOrd="0" presId="urn:microsoft.com/office/officeart/2005/8/layout/list1"/>
    <dgm:cxn modelId="{9DC1FE0D-D96C-4604-A43C-24E552A92704}" type="presParOf" srcId="{2355CC65-6AA3-4742-A06E-0305A19F15FB}" destId="{D15B5CDA-592D-4300-A3A1-70976BD54305}" srcOrd="4" destOrd="0" presId="urn:microsoft.com/office/officeart/2005/8/layout/list1"/>
    <dgm:cxn modelId="{52D42C09-96B0-4DC3-8E5D-25DF99241B71}" type="presParOf" srcId="{D15B5CDA-592D-4300-A3A1-70976BD54305}" destId="{00015392-8FBD-4E86-9731-5271EFFA4625}" srcOrd="0" destOrd="0" presId="urn:microsoft.com/office/officeart/2005/8/layout/list1"/>
    <dgm:cxn modelId="{AEBCF09F-91FD-40C9-A1C5-F67365312A48}" type="presParOf" srcId="{D15B5CDA-592D-4300-A3A1-70976BD54305}" destId="{C17E2D99-9489-456E-97E3-D967472EAAD2}" srcOrd="1" destOrd="0" presId="urn:microsoft.com/office/officeart/2005/8/layout/list1"/>
    <dgm:cxn modelId="{A85CEF87-03D0-4638-AEF8-FF63FB830BCD}" type="presParOf" srcId="{2355CC65-6AA3-4742-A06E-0305A19F15FB}" destId="{BFDFCC20-7E55-4208-B48C-27045F721D42}" srcOrd="5" destOrd="0" presId="urn:microsoft.com/office/officeart/2005/8/layout/list1"/>
    <dgm:cxn modelId="{F170BDA1-868B-4A3B-A401-CBA85F7A4D1D}" type="presParOf" srcId="{2355CC65-6AA3-4742-A06E-0305A19F15FB}" destId="{FF3B3633-D802-4A33-93EF-DF8BCCA949EB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ORIENTACIONES Y LINEAMIENTOS PARA  LICENCIAS Y REGISTROS</a:t>
          </a:r>
          <a:endParaRPr lang="es-CO" sz="18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endParaRPr lang="es-CO"/>
        </a:p>
      </dgm:t>
    </dgm:pt>
    <dgm:pt modelId="{129460C4-69D5-4817-9B5E-DC367C31ABCC}">
      <dgm:prSet phldrT="[Texto]" custT="1"/>
      <dgm:spPr/>
      <dgm:t>
        <a:bodyPr/>
        <a:lstStyle/>
        <a:p>
          <a:r>
            <a:rPr lang="es-CO" sz="1400" dirty="0" smtClean="0"/>
            <a:t> </a:t>
          </a:r>
          <a:r>
            <a:rPr lang="es-ES_tradnl" sz="1600" dirty="0" smtClean="0"/>
            <a:t>Lineamientos generales para el desarrollo e implementación, seguimiento y evaluación de la ETDH</a:t>
          </a:r>
          <a:endParaRPr lang="es-CO" sz="16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endParaRPr lang="es-CO"/>
        </a:p>
      </dgm:t>
    </dgm:pt>
    <dgm:pt modelId="{12EB48E0-C150-476F-ADD2-2FF4CF160EA4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RECURSOS  FINANCIEROS </a:t>
          </a:r>
          <a:endParaRPr lang="es-CO" sz="1800" b="1" dirty="0">
            <a:solidFill>
              <a:srgbClr val="C00000"/>
            </a:solidFill>
          </a:endParaRPr>
        </a:p>
      </dgm:t>
    </dgm:pt>
    <dgm:pt modelId="{E1478186-3752-42C7-B67A-AE9571627ED7}" type="parTrans" cxnId="{2342E131-3524-4411-979C-1AA3421D0F3A}">
      <dgm:prSet/>
      <dgm:spPr/>
      <dgm:t>
        <a:bodyPr/>
        <a:lstStyle/>
        <a:p>
          <a:endParaRPr lang="es-CO"/>
        </a:p>
      </dgm:t>
    </dgm:pt>
    <dgm:pt modelId="{B8AA3DAE-7696-4937-9B6D-D9297B0ECE4C}" type="sibTrans" cxnId="{2342E131-3524-4411-979C-1AA3421D0F3A}">
      <dgm:prSet/>
      <dgm:spPr/>
      <dgm:t>
        <a:bodyPr/>
        <a:lstStyle/>
        <a:p>
          <a:endParaRPr lang="es-CO"/>
        </a:p>
      </dgm:t>
    </dgm:pt>
    <dgm:pt modelId="{E6F494A8-8B96-40B4-AF10-D1683F210D0A}">
      <dgm:prSet phldrT="[Texto]" custT="1"/>
      <dgm:spPr/>
      <dgm:t>
        <a:bodyPr/>
        <a:lstStyle/>
        <a:p>
          <a:r>
            <a:rPr lang="es-ES_tradnl" sz="1600" dirty="0" smtClean="0"/>
            <a:t>Recursos adicionales para atender este compromiso.</a:t>
          </a:r>
          <a:endParaRPr lang="es-CO" sz="1600" dirty="0"/>
        </a:p>
      </dgm:t>
    </dgm:pt>
    <dgm:pt modelId="{C8B11C01-717B-4AC8-BE49-8AC895918EDB}" type="parTrans" cxnId="{D40797B6-AEBE-417C-A15B-ADFFE83B3BD9}">
      <dgm:prSet/>
      <dgm:spPr/>
      <dgm:t>
        <a:bodyPr/>
        <a:lstStyle/>
        <a:p>
          <a:endParaRPr lang="es-CO"/>
        </a:p>
      </dgm:t>
    </dgm:pt>
    <dgm:pt modelId="{D7793D13-5ED1-402E-A17C-BAA09DFCD660}" type="sibTrans" cxnId="{D40797B6-AEBE-417C-A15B-ADFFE83B3BD9}">
      <dgm:prSet/>
      <dgm:spPr/>
      <dgm:t>
        <a:bodyPr/>
        <a:lstStyle/>
        <a:p>
          <a:endParaRPr lang="es-CO"/>
        </a:p>
      </dgm:t>
    </dgm:pt>
    <dgm:pt modelId="{083CD770-C244-486D-89E9-C5F90B2FD230}">
      <dgm:prSet custT="1"/>
      <dgm:spPr/>
      <dgm:t>
        <a:bodyPr/>
        <a:lstStyle/>
        <a:p>
          <a:r>
            <a:rPr lang="es-ES_tradnl" sz="1600" dirty="0" smtClean="0"/>
            <a:t>Orientación y lineamientos claros para la expedición de licencias y registro de los programas de ETDH</a:t>
          </a:r>
          <a:endParaRPr lang="es-CO" sz="1600" dirty="0"/>
        </a:p>
      </dgm:t>
    </dgm:pt>
    <dgm:pt modelId="{00630870-C587-45C9-8D18-B4E557423070}" type="parTrans" cxnId="{A83CF600-097C-465E-8662-5F29D90816AB}">
      <dgm:prSet/>
      <dgm:spPr/>
      <dgm:t>
        <a:bodyPr/>
        <a:lstStyle/>
        <a:p>
          <a:endParaRPr lang="es-CO"/>
        </a:p>
      </dgm:t>
    </dgm:pt>
    <dgm:pt modelId="{8A792318-9A1B-497A-BC7E-89B184D28085}" type="sibTrans" cxnId="{A83CF600-097C-465E-8662-5F29D90816AB}">
      <dgm:prSet/>
      <dgm:spPr/>
      <dgm:t>
        <a:bodyPr/>
        <a:lstStyle/>
        <a:p>
          <a:endParaRPr lang="es-CO"/>
        </a:p>
      </dgm:t>
    </dgm:pt>
    <dgm:pt modelId="{E744B138-D6F2-438B-B0B0-81485705EB5E}">
      <dgm:prSet custT="1"/>
      <dgm:spPr/>
      <dgm:t>
        <a:bodyPr/>
        <a:lstStyle/>
        <a:p>
          <a:r>
            <a:rPr lang="es-CO" sz="1600" dirty="0" smtClean="0"/>
            <a:t>Diseño de  Guía e instrumentos para orientación y evaluación de programas de ETDH</a:t>
          </a:r>
          <a:endParaRPr lang="es-CO" sz="1600" dirty="0"/>
        </a:p>
      </dgm:t>
    </dgm:pt>
    <dgm:pt modelId="{9777F485-A9E6-41DB-A113-B53A73EBC1F4}" type="parTrans" cxnId="{CDE41196-C011-44E8-BDC9-B4A50AC2144F}">
      <dgm:prSet/>
      <dgm:spPr/>
      <dgm:t>
        <a:bodyPr/>
        <a:lstStyle/>
        <a:p>
          <a:endParaRPr lang="es-CO"/>
        </a:p>
      </dgm:t>
    </dgm:pt>
    <dgm:pt modelId="{B2EB0E97-9825-4A24-939F-7B092A7EE898}" type="sibTrans" cxnId="{CDE41196-C011-44E8-BDC9-B4A50AC2144F}">
      <dgm:prSet/>
      <dgm:spPr/>
      <dgm:t>
        <a:bodyPr/>
        <a:lstStyle/>
        <a:p>
          <a:endParaRPr lang="es-CO"/>
        </a:p>
      </dgm:t>
    </dgm:pt>
    <dgm:pt modelId="{DFC14308-FA15-4CC4-89D6-CCD10E869D40}">
      <dgm:prSet custT="1"/>
      <dgm:spPr/>
      <dgm:t>
        <a:bodyPr/>
        <a:lstStyle/>
        <a:p>
          <a:r>
            <a:rPr lang="es-ES_tradnl" sz="1600" dirty="0" smtClean="0"/>
            <a:t>Generar los recursos económicos para cofinanciar convenios y alianzas que favorezcan esta formación para el trabajo y el desarrollo humano.</a:t>
          </a:r>
          <a:endParaRPr lang="es-CO" sz="1600" dirty="0"/>
        </a:p>
      </dgm:t>
    </dgm:pt>
    <dgm:pt modelId="{0EB2850C-DAC4-4536-9E3D-D3E0565A80FB}" type="parTrans" cxnId="{F24E88E5-65ED-49CC-B0FA-BE79B27DE632}">
      <dgm:prSet/>
      <dgm:spPr/>
      <dgm:t>
        <a:bodyPr/>
        <a:lstStyle/>
        <a:p>
          <a:endParaRPr lang="es-CO"/>
        </a:p>
      </dgm:t>
    </dgm:pt>
    <dgm:pt modelId="{6FA488A1-D3AE-49D2-AEE0-C34255BCBF92}" type="sibTrans" cxnId="{F24E88E5-65ED-49CC-B0FA-BE79B27DE632}">
      <dgm:prSet/>
      <dgm:spPr/>
      <dgm:t>
        <a:bodyPr/>
        <a:lstStyle/>
        <a:p>
          <a:endParaRPr lang="es-CO"/>
        </a:p>
      </dgm:t>
    </dgm:pt>
    <dgm:pt modelId="{88FD43C4-6B12-498D-A039-4F2F62532A9D}">
      <dgm:prSet custT="1"/>
      <dgm:spPr/>
      <dgm:t>
        <a:bodyPr/>
        <a:lstStyle/>
        <a:p>
          <a:r>
            <a:rPr lang="es-ES_tradnl" sz="1600" dirty="0" smtClean="0"/>
            <a:t>Fondo para atender la Formación para el Trabajo como el FEM.</a:t>
          </a:r>
          <a:endParaRPr lang="es-CO" sz="1600" dirty="0"/>
        </a:p>
      </dgm:t>
    </dgm:pt>
    <dgm:pt modelId="{7A9CD2ED-F43A-4AAC-9184-D86B452AE72B}" type="parTrans" cxnId="{9A52626D-5D7D-49EC-8F73-E1B36A5C5A08}">
      <dgm:prSet/>
      <dgm:spPr/>
      <dgm:t>
        <a:bodyPr/>
        <a:lstStyle/>
        <a:p>
          <a:endParaRPr lang="es-CO"/>
        </a:p>
      </dgm:t>
    </dgm:pt>
    <dgm:pt modelId="{A17FBD07-B24B-4336-9582-D882CBB17098}" type="sibTrans" cxnId="{9A52626D-5D7D-49EC-8F73-E1B36A5C5A08}">
      <dgm:prSet/>
      <dgm:spPr/>
      <dgm:t>
        <a:bodyPr/>
        <a:lstStyle/>
        <a:p>
          <a:endParaRPr lang="es-CO"/>
        </a:p>
      </dgm:t>
    </dgm:pt>
    <dgm:pt modelId="{8F890EA0-F9F2-49EA-832C-10DB8FB6E90A}">
      <dgm:prSet custT="1"/>
      <dgm:spPr/>
      <dgm:t>
        <a:bodyPr/>
        <a:lstStyle/>
        <a:p>
          <a:r>
            <a:rPr lang="es-CO" sz="1600" dirty="0" smtClean="0"/>
            <a:t>Definir desde el MEN criterios para los costos de aprobación de licencias y programas. </a:t>
          </a:r>
          <a:r>
            <a:rPr lang="es-ES_tradnl" sz="1600" dirty="0" smtClean="0"/>
            <a:t>Regulación del sistema tarifario.</a:t>
          </a:r>
          <a:endParaRPr lang="es-CO" sz="1600" dirty="0"/>
        </a:p>
      </dgm:t>
    </dgm:pt>
    <dgm:pt modelId="{A295D24E-D5C4-4218-AE00-489E78EA5DC0}" type="parTrans" cxnId="{B61041D1-0E30-4430-8700-087129673946}">
      <dgm:prSet/>
      <dgm:spPr/>
      <dgm:t>
        <a:bodyPr/>
        <a:lstStyle/>
        <a:p>
          <a:endParaRPr lang="es-CO"/>
        </a:p>
      </dgm:t>
    </dgm:pt>
    <dgm:pt modelId="{54A86BF9-4A52-427F-BE04-5DB049230545}" type="sibTrans" cxnId="{B61041D1-0E30-4430-8700-087129673946}">
      <dgm:prSet/>
      <dgm:spPr/>
      <dgm:t>
        <a:bodyPr/>
        <a:lstStyle/>
        <a:p>
          <a:endParaRPr lang="es-CO"/>
        </a:p>
      </dgm:t>
    </dgm:pt>
    <dgm:pt modelId="{A33DF7D8-A4A1-496D-A4A9-9A75210CE308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22506C53-30F8-45E1-B416-783B066C1506}" type="pres">
      <dgm:prSet presAssocID="{55554ABE-44B4-4DC6-BC6D-E31A8BACD25E}" presName="parentLin" presStyleCnt="0"/>
      <dgm:spPr/>
    </dgm:pt>
    <dgm:pt modelId="{6F991104-FBB9-4C1C-B94F-687D9CFE66D6}" type="pres">
      <dgm:prSet presAssocID="{55554ABE-44B4-4DC6-BC6D-E31A8BACD25E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88404FA8-B4D7-447D-B689-71413C8507D3}" type="pres">
      <dgm:prSet presAssocID="{55554ABE-44B4-4DC6-BC6D-E31A8BACD25E}" presName="parentText" presStyleLbl="node1" presStyleIdx="0" presStyleCnt="2" custScaleX="136415" custScaleY="148202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F7AFE2E-50F8-410E-90E0-D2A4B15299C9}" type="pres">
      <dgm:prSet presAssocID="{55554ABE-44B4-4DC6-BC6D-E31A8BACD25E}" presName="negativeSpace" presStyleCnt="0"/>
      <dgm:spPr/>
    </dgm:pt>
    <dgm:pt modelId="{25201B38-210A-4CF0-BBC3-2F6AF9919001}" type="pres">
      <dgm:prSet presAssocID="{55554ABE-44B4-4DC6-BC6D-E31A8BACD25E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AEC7D99-388E-40CA-B5A5-62F538891CEB}" type="pres">
      <dgm:prSet presAssocID="{06D8D9AA-2750-45CA-BEFB-A8C036D1CAB3}" presName="spaceBetweenRectangles" presStyleCnt="0"/>
      <dgm:spPr/>
    </dgm:pt>
    <dgm:pt modelId="{F65FB4CC-97F9-41BB-8373-EE757247C227}" type="pres">
      <dgm:prSet presAssocID="{12EB48E0-C150-476F-ADD2-2FF4CF160EA4}" presName="parentLin" presStyleCnt="0"/>
      <dgm:spPr/>
    </dgm:pt>
    <dgm:pt modelId="{D51BA9F0-AC00-47CF-A9F9-DC4506A528F3}" type="pres">
      <dgm:prSet presAssocID="{12EB48E0-C150-476F-ADD2-2FF4CF160EA4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909719E4-304C-4342-816F-38263EC714D0}" type="pres">
      <dgm:prSet presAssocID="{12EB48E0-C150-476F-ADD2-2FF4CF160EA4}" presName="parentText" presStyleLbl="node1" presStyleIdx="1" presStyleCnt="2" custScaleY="16548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C4E9964-32B3-4DD2-AAE3-EBDFE6EB7D78}" type="pres">
      <dgm:prSet presAssocID="{12EB48E0-C150-476F-ADD2-2FF4CF160EA4}" presName="negativeSpace" presStyleCnt="0"/>
      <dgm:spPr/>
    </dgm:pt>
    <dgm:pt modelId="{3C4D1F82-F8F2-44D8-9A8B-792E9C62E2CF}" type="pres">
      <dgm:prSet presAssocID="{12EB48E0-C150-476F-ADD2-2FF4CF160EA4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61041D1-0E30-4430-8700-087129673946}" srcId="{12EB48E0-C150-476F-ADD2-2FF4CF160EA4}" destId="{8F890EA0-F9F2-49EA-832C-10DB8FB6E90A}" srcOrd="3" destOrd="0" parTransId="{A295D24E-D5C4-4218-AE00-489E78EA5DC0}" sibTransId="{54A86BF9-4A52-427F-BE04-5DB049230545}"/>
    <dgm:cxn modelId="{21E64160-4975-4800-AE9D-72B4E12C20C1}" type="presOf" srcId="{12EB48E0-C150-476F-ADD2-2FF4CF160EA4}" destId="{909719E4-304C-4342-816F-38263EC714D0}" srcOrd="1" destOrd="0" presId="urn:microsoft.com/office/officeart/2005/8/layout/list1"/>
    <dgm:cxn modelId="{CBE26900-480D-4946-8A61-19AA193404AA}" type="presOf" srcId="{E744B138-D6F2-438B-B0B0-81485705EB5E}" destId="{25201B38-210A-4CF0-BBC3-2F6AF9919001}" srcOrd="0" destOrd="2" presId="urn:microsoft.com/office/officeart/2005/8/layout/list1"/>
    <dgm:cxn modelId="{D40797B6-AEBE-417C-A15B-ADFFE83B3BD9}" srcId="{12EB48E0-C150-476F-ADD2-2FF4CF160EA4}" destId="{E6F494A8-8B96-40B4-AF10-D1683F210D0A}" srcOrd="0" destOrd="0" parTransId="{C8B11C01-717B-4AC8-BE49-8AC895918EDB}" sibTransId="{D7793D13-5ED1-402E-A17C-BAA09DFCD660}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1DE4DEBC-3170-4ADC-BF10-1726F18B843D}" type="presOf" srcId="{E6F494A8-8B96-40B4-AF10-D1683F210D0A}" destId="{3C4D1F82-F8F2-44D8-9A8B-792E9C62E2CF}" srcOrd="0" destOrd="0" presId="urn:microsoft.com/office/officeart/2005/8/layout/list1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D5AB4CDE-CE14-40D3-9862-87CE74FD36B4}" type="presOf" srcId="{12EB48E0-C150-476F-ADD2-2FF4CF160EA4}" destId="{D51BA9F0-AC00-47CF-A9F9-DC4506A528F3}" srcOrd="0" destOrd="0" presId="urn:microsoft.com/office/officeart/2005/8/layout/list1"/>
    <dgm:cxn modelId="{70644922-9DBB-47CF-9E7C-31860B30573A}" type="presOf" srcId="{70E7E4ED-4075-4C79-892B-59713DE3656D}" destId="{A33DF7D8-A4A1-496D-A4A9-9A75210CE308}" srcOrd="0" destOrd="0" presId="urn:microsoft.com/office/officeart/2005/8/layout/list1"/>
    <dgm:cxn modelId="{F24E88E5-65ED-49CC-B0FA-BE79B27DE632}" srcId="{12EB48E0-C150-476F-ADD2-2FF4CF160EA4}" destId="{DFC14308-FA15-4CC4-89D6-CCD10E869D40}" srcOrd="1" destOrd="0" parTransId="{0EB2850C-DAC4-4536-9E3D-D3E0565A80FB}" sibTransId="{6FA488A1-D3AE-49D2-AEE0-C34255BCBF92}"/>
    <dgm:cxn modelId="{5401EFF3-DC9C-4B00-B696-EAE36EB6D2E5}" type="presOf" srcId="{55554ABE-44B4-4DC6-BC6D-E31A8BACD25E}" destId="{88404FA8-B4D7-447D-B689-71413C8507D3}" srcOrd="1" destOrd="0" presId="urn:microsoft.com/office/officeart/2005/8/layout/list1"/>
    <dgm:cxn modelId="{F4F9FD5F-8AF9-4D26-9A3E-C132F82B3C1F}" type="presOf" srcId="{88FD43C4-6B12-498D-A039-4F2F62532A9D}" destId="{3C4D1F82-F8F2-44D8-9A8B-792E9C62E2CF}" srcOrd="0" destOrd="2" presId="urn:microsoft.com/office/officeart/2005/8/layout/list1"/>
    <dgm:cxn modelId="{003DD219-03C3-4DA2-ACD3-52A12127D330}" type="presOf" srcId="{DFC14308-FA15-4CC4-89D6-CCD10E869D40}" destId="{3C4D1F82-F8F2-44D8-9A8B-792E9C62E2CF}" srcOrd="0" destOrd="1" presId="urn:microsoft.com/office/officeart/2005/8/layout/list1"/>
    <dgm:cxn modelId="{9A52626D-5D7D-49EC-8F73-E1B36A5C5A08}" srcId="{12EB48E0-C150-476F-ADD2-2FF4CF160EA4}" destId="{88FD43C4-6B12-498D-A039-4F2F62532A9D}" srcOrd="2" destOrd="0" parTransId="{7A9CD2ED-F43A-4AAC-9184-D86B452AE72B}" sibTransId="{A17FBD07-B24B-4336-9582-D882CBB17098}"/>
    <dgm:cxn modelId="{2342E131-3524-4411-979C-1AA3421D0F3A}" srcId="{70E7E4ED-4075-4C79-892B-59713DE3656D}" destId="{12EB48E0-C150-476F-ADD2-2FF4CF160EA4}" srcOrd="1" destOrd="0" parTransId="{E1478186-3752-42C7-B67A-AE9571627ED7}" sibTransId="{B8AA3DAE-7696-4937-9B6D-D9297B0ECE4C}"/>
    <dgm:cxn modelId="{318425BF-2C41-4921-80E7-300025571905}" type="presOf" srcId="{55554ABE-44B4-4DC6-BC6D-E31A8BACD25E}" destId="{6F991104-FBB9-4C1C-B94F-687D9CFE66D6}" srcOrd="0" destOrd="0" presId="urn:microsoft.com/office/officeart/2005/8/layout/list1"/>
    <dgm:cxn modelId="{A5923441-E841-498B-AF7C-E197F395225F}" type="presOf" srcId="{8F890EA0-F9F2-49EA-832C-10DB8FB6E90A}" destId="{3C4D1F82-F8F2-44D8-9A8B-792E9C62E2CF}" srcOrd="0" destOrd="3" presId="urn:microsoft.com/office/officeart/2005/8/layout/list1"/>
    <dgm:cxn modelId="{D00A8F0D-D110-4FC5-80FB-AE5525ADA498}" type="presOf" srcId="{083CD770-C244-486D-89E9-C5F90B2FD230}" destId="{25201B38-210A-4CF0-BBC3-2F6AF9919001}" srcOrd="0" destOrd="1" presId="urn:microsoft.com/office/officeart/2005/8/layout/list1"/>
    <dgm:cxn modelId="{CDE41196-C011-44E8-BDC9-B4A50AC2144F}" srcId="{55554ABE-44B4-4DC6-BC6D-E31A8BACD25E}" destId="{E744B138-D6F2-438B-B0B0-81485705EB5E}" srcOrd="2" destOrd="0" parTransId="{9777F485-A9E6-41DB-A113-B53A73EBC1F4}" sibTransId="{B2EB0E97-9825-4A24-939F-7B092A7EE898}"/>
    <dgm:cxn modelId="{A83CF600-097C-465E-8662-5F29D90816AB}" srcId="{55554ABE-44B4-4DC6-BC6D-E31A8BACD25E}" destId="{083CD770-C244-486D-89E9-C5F90B2FD230}" srcOrd="1" destOrd="0" parTransId="{00630870-C587-45C9-8D18-B4E557423070}" sibTransId="{8A792318-9A1B-497A-BC7E-89B184D28085}"/>
    <dgm:cxn modelId="{1B1722F7-3248-44B7-8AD5-2C886B8B1BB1}" type="presOf" srcId="{129460C4-69D5-4817-9B5E-DC367C31ABCC}" destId="{25201B38-210A-4CF0-BBC3-2F6AF9919001}" srcOrd="0" destOrd="0" presId="urn:microsoft.com/office/officeart/2005/8/layout/list1"/>
    <dgm:cxn modelId="{9DE414E7-F1C1-4616-9E7E-A28D735CE488}" type="presParOf" srcId="{A33DF7D8-A4A1-496D-A4A9-9A75210CE308}" destId="{22506C53-30F8-45E1-B416-783B066C1506}" srcOrd="0" destOrd="0" presId="urn:microsoft.com/office/officeart/2005/8/layout/list1"/>
    <dgm:cxn modelId="{7659B702-BD50-4DBB-9573-0BFA3860BC72}" type="presParOf" srcId="{22506C53-30F8-45E1-B416-783B066C1506}" destId="{6F991104-FBB9-4C1C-B94F-687D9CFE66D6}" srcOrd="0" destOrd="0" presId="urn:microsoft.com/office/officeart/2005/8/layout/list1"/>
    <dgm:cxn modelId="{DCF5AF40-FE35-4197-9E23-6CF8004BAA91}" type="presParOf" srcId="{22506C53-30F8-45E1-B416-783B066C1506}" destId="{88404FA8-B4D7-447D-B689-71413C8507D3}" srcOrd="1" destOrd="0" presId="urn:microsoft.com/office/officeart/2005/8/layout/list1"/>
    <dgm:cxn modelId="{F93202A6-795D-49C3-AC10-BA17B09A3AE5}" type="presParOf" srcId="{A33DF7D8-A4A1-496D-A4A9-9A75210CE308}" destId="{FF7AFE2E-50F8-410E-90E0-D2A4B15299C9}" srcOrd="1" destOrd="0" presId="urn:microsoft.com/office/officeart/2005/8/layout/list1"/>
    <dgm:cxn modelId="{8D8EE796-A5DE-4177-BE27-062D92B85FC5}" type="presParOf" srcId="{A33DF7D8-A4A1-496D-A4A9-9A75210CE308}" destId="{25201B38-210A-4CF0-BBC3-2F6AF9919001}" srcOrd="2" destOrd="0" presId="urn:microsoft.com/office/officeart/2005/8/layout/list1"/>
    <dgm:cxn modelId="{8084DA3E-FF50-4F9A-B57E-B9F8A63C4E54}" type="presParOf" srcId="{A33DF7D8-A4A1-496D-A4A9-9A75210CE308}" destId="{6AEC7D99-388E-40CA-B5A5-62F538891CEB}" srcOrd="3" destOrd="0" presId="urn:microsoft.com/office/officeart/2005/8/layout/list1"/>
    <dgm:cxn modelId="{F180E6CE-CB19-4479-B0D2-9AE6B0479F03}" type="presParOf" srcId="{A33DF7D8-A4A1-496D-A4A9-9A75210CE308}" destId="{F65FB4CC-97F9-41BB-8373-EE757247C227}" srcOrd="4" destOrd="0" presId="urn:microsoft.com/office/officeart/2005/8/layout/list1"/>
    <dgm:cxn modelId="{87EE770C-E37F-41DB-8060-2300BC67EB69}" type="presParOf" srcId="{F65FB4CC-97F9-41BB-8373-EE757247C227}" destId="{D51BA9F0-AC00-47CF-A9F9-DC4506A528F3}" srcOrd="0" destOrd="0" presId="urn:microsoft.com/office/officeart/2005/8/layout/list1"/>
    <dgm:cxn modelId="{4913E84C-7F00-4BCA-8EF2-FDB08D284A27}" type="presParOf" srcId="{F65FB4CC-97F9-41BB-8373-EE757247C227}" destId="{909719E4-304C-4342-816F-38263EC714D0}" srcOrd="1" destOrd="0" presId="urn:microsoft.com/office/officeart/2005/8/layout/list1"/>
    <dgm:cxn modelId="{FC2BDD2C-B27B-43B3-AEF4-52CE42F09F31}" type="presParOf" srcId="{A33DF7D8-A4A1-496D-A4A9-9A75210CE308}" destId="{FC4E9964-32B3-4DD2-AAE3-EBDFE6EB7D78}" srcOrd="5" destOrd="0" presId="urn:microsoft.com/office/officeart/2005/8/layout/list1"/>
    <dgm:cxn modelId="{B4C23F42-5B74-44A8-A9B3-CD4F65A74F7E}" type="presParOf" srcId="{A33DF7D8-A4A1-496D-A4A9-9A75210CE308}" destId="{3C4D1F82-F8F2-44D8-9A8B-792E9C62E2CF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INCENTIVOS</a:t>
          </a:r>
          <a:endParaRPr lang="es-CO" sz="18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endParaRPr lang="es-CO"/>
        </a:p>
      </dgm:t>
    </dgm:pt>
    <dgm:pt modelId="{129460C4-69D5-4817-9B5E-DC367C31ABCC}">
      <dgm:prSet phldrT="[Texto]" custT="1"/>
      <dgm:spPr/>
      <dgm:t>
        <a:bodyPr/>
        <a:lstStyle/>
        <a:p>
          <a:r>
            <a:rPr lang="es-CO" sz="1600" dirty="0" smtClean="0"/>
            <a:t>Incentivar la Certificación de Calidad.</a:t>
          </a:r>
          <a:endParaRPr lang="es-CO" sz="16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endParaRPr lang="es-CO"/>
        </a:p>
      </dgm:t>
    </dgm:pt>
    <dgm:pt modelId="{12EB48E0-C150-476F-ADD2-2FF4CF160EA4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OTROS </a:t>
          </a:r>
          <a:endParaRPr lang="es-CO" sz="1800" b="1" dirty="0">
            <a:solidFill>
              <a:srgbClr val="C00000"/>
            </a:solidFill>
          </a:endParaRPr>
        </a:p>
      </dgm:t>
    </dgm:pt>
    <dgm:pt modelId="{E1478186-3752-42C7-B67A-AE9571627ED7}" type="parTrans" cxnId="{2342E131-3524-4411-979C-1AA3421D0F3A}">
      <dgm:prSet/>
      <dgm:spPr/>
      <dgm:t>
        <a:bodyPr/>
        <a:lstStyle/>
        <a:p>
          <a:endParaRPr lang="es-CO"/>
        </a:p>
      </dgm:t>
    </dgm:pt>
    <dgm:pt modelId="{B8AA3DAE-7696-4937-9B6D-D9297B0ECE4C}" type="sibTrans" cxnId="{2342E131-3524-4411-979C-1AA3421D0F3A}">
      <dgm:prSet/>
      <dgm:spPr/>
      <dgm:t>
        <a:bodyPr/>
        <a:lstStyle/>
        <a:p>
          <a:endParaRPr lang="es-CO"/>
        </a:p>
      </dgm:t>
    </dgm:pt>
    <dgm:pt modelId="{E6F494A8-8B96-40B4-AF10-D1683F210D0A}">
      <dgm:prSet phldrT="[Texto]" custT="1"/>
      <dgm:spPr/>
      <dgm:t>
        <a:bodyPr/>
        <a:lstStyle/>
        <a:p>
          <a:r>
            <a:rPr lang="es-ES_tradnl" sz="1600" dirty="0" smtClean="0"/>
            <a:t>Creación de estrategias de mercado, necesidades y requerimientos.</a:t>
          </a:r>
          <a:endParaRPr lang="es-CO" sz="1600" dirty="0"/>
        </a:p>
      </dgm:t>
    </dgm:pt>
    <dgm:pt modelId="{C8B11C01-717B-4AC8-BE49-8AC895918EDB}" type="parTrans" cxnId="{D40797B6-AEBE-417C-A15B-ADFFE83B3BD9}">
      <dgm:prSet/>
      <dgm:spPr/>
      <dgm:t>
        <a:bodyPr/>
        <a:lstStyle/>
        <a:p>
          <a:endParaRPr lang="es-CO"/>
        </a:p>
      </dgm:t>
    </dgm:pt>
    <dgm:pt modelId="{D7793D13-5ED1-402E-A17C-BAA09DFCD660}" type="sibTrans" cxnId="{D40797B6-AEBE-417C-A15B-ADFFE83B3BD9}">
      <dgm:prSet/>
      <dgm:spPr/>
      <dgm:t>
        <a:bodyPr/>
        <a:lstStyle/>
        <a:p>
          <a:endParaRPr lang="es-CO"/>
        </a:p>
      </dgm:t>
    </dgm:pt>
    <dgm:pt modelId="{007A89EE-2A89-439A-BB4E-BB68A5F7BE63}">
      <dgm:prSet custT="1"/>
      <dgm:spPr/>
      <dgm:t>
        <a:bodyPr/>
        <a:lstStyle/>
        <a:p>
          <a:r>
            <a:rPr lang="es-ES_tradnl" sz="1600" dirty="0" smtClean="0"/>
            <a:t>Estímulos a los estudiantes que participan en este tipo de formación.</a:t>
          </a:r>
          <a:endParaRPr lang="es-CO" sz="1600" dirty="0"/>
        </a:p>
      </dgm:t>
    </dgm:pt>
    <dgm:pt modelId="{8993CAEE-6A29-4CC1-90B1-987D3D574DC9}" type="parTrans" cxnId="{5AF56741-0192-4D5A-819A-85C7F49B1C30}">
      <dgm:prSet/>
      <dgm:spPr/>
      <dgm:t>
        <a:bodyPr/>
        <a:lstStyle/>
        <a:p>
          <a:endParaRPr lang="es-CO"/>
        </a:p>
      </dgm:t>
    </dgm:pt>
    <dgm:pt modelId="{B7721F67-E66A-49CD-991C-0D36D61DC57F}" type="sibTrans" cxnId="{5AF56741-0192-4D5A-819A-85C7F49B1C30}">
      <dgm:prSet/>
      <dgm:spPr/>
      <dgm:t>
        <a:bodyPr/>
        <a:lstStyle/>
        <a:p>
          <a:endParaRPr lang="es-CO"/>
        </a:p>
      </dgm:t>
    </dgm:pt>
    <dgm:pt modelId="{ED5BB763-12A1-4514-A10E-4EA4987D0DB8}">
      <dgm:prSet custT="1"/>
      <dgm:spPr/>
      <dgm:t>
        <a:bodyPr/>
        <a:lstStyle/>
        <a:p>
          <a:r>
            <a:rPr lang="es-CO" sz="1600" dirty="0" smtClean="0"/>
            <a:t>Sistema Nacional de Acreditación análogo al de Educación Superior</a:t>
          </a:r>
          <a:endParaRPr lang="es-CO" sz="1600" dirty="0"/>
        </a:p>
      </dgm:t>
    </dgm:pt>
    <dgm:pt modelId="{732CEB36-CAC6-4E1E-AF9F-542CEC8EC121}" type="parTrans" cxnId="{89566D2F-9515-428C-9ABB-BAAD5524F1E4}">
      <dgm:prSet/>
      <dgm:spPr/>
      <dgm:t>
        <a:bodyPr/>
        <a:lstStyle/>
        <a:p>
          <a:endParaRPr lang="es-CO"/>
        </a:p>
      </dgm:t>
    </dgm:pt>
    <dgm:pt modelId="{2D1F2936-F1C2-4DBC-93EF-483B6A41F84B}" type="sibTrans" cxnId="{89566D2F-9515-428C-9ABB-BAAD5524F1E4}">
      <dgm:prSet/>
      <dgm:spPr/>
      <dgm:t>
        <a:bodyPr/>
        <a:lstStyle/>
        <a:p>
          <a:endParaRPr lang="es-CO"/>
        </a:p>
      </dgm:t>
    </dgm:pt>
    <dgm:pt modelId="{C9E9CE1A-AC8E-40B5-9A0F-5F7036035B04}">
      <dgm:prSet custT="1"/>
      <dgm:spPr/>
      <dgm:t>
        <a:bodyPr/>
        <a:lstStyle/>
        <a:p>
          <a:r>
            <a:rPr lang="es-CO" sz="1600" dirty="0" smtClean="0"/>
            <a:t>Fortalecer las Redes Nacionales e Internacionales</a:t>
          </a:r>
          <a:endParaRPr lang="es-CO" sz="1600" dirty="0"/>
        </a:p>
      </dgm:t>
    </dgm:pt>
    <dgm:pt modelId="{40E50578-E727-459C-B8DD-02C4119C952B}" type="parTrans" cxnId="{7597060B-3995-4013-B09E-9348130A4643}">
      <dgm:prSet/>
      <dgm:spPr/>
      <dgm:t>
        <a:bodyPr/>
        <a:lstStyle/>
        <a:p>
          <a:endParaRPr lang="es-CO"/>
        </a:p>
      </dgm:t>
    </dgm:pt>
    <dgm:pt modelId="{788D15C0-A4F9-4764-9711-2A3BAE9A6B64}" type="sibTrans" cxnId="{7597060B-3995-4013-B09E-9348130A4643}">
      <dgm:prSet/>
      <dgm:spPr/>
      <dgm:t>
        <a:bodyPr/>
        <a:lstStyle/>
        <a:p>
          <a:endParaRPr lang="es-CO"/>
        </a:p>
      </dgm:t>
    </dgm:pt>
    <dgm:pt modelId="{BD97C6C9-2419-469D-9127-CCB0B183A5B1}">
      <dgm:prSet custT="1"/>
      <dgm:spPr/>
      <dgm:t>
        <a:bodyPr/>
        <a:lstStyle/>
        <a:p>
          <a:r>
            <a:rPr lang="es-CO" sz="1600" dirty="0" smtClean="0"/>
            <a:t>Contar con respaldo de plataforma virtual</a:t>
          </a:r>
          <a:endParaRPr lang="es-CO" sz="1600" dirty="0"/>
        </a:p>
      </dgm:t>
    </dgm:pt>
    <dgm:pt modelId="{5FBFE0A8-FE2A-4E40-8D0B-8076599DA95B}" type="parTrans" cxnId="{7D0659AE-2400-4BDA-B2C8-6011866B571A}">
      <dgm:prSet/>
      <dgm:spPr/>
      <dgm:t>
        <a:bodyPr/>
        <a:lstStyle/>
        <a:p>
          <a:endParaRPr lang="es-CO"/>
        </a:p>
      </dgm:t>
    </dgm:pt>
    <dgm:pt modelId="{8CEA4DA5-9A69-48C8-85FD-E3C25071BBCF}" type="sibTrans" cxnId="{7D0659AE-2400-4BDA-B2C8-6011866B571A}">
      <dgm:prSet/>
      <dgm:spPr/>
      <dgm:t>
        <a:bodyPr/>
        <a:lstStyle/>
        <a:p>
          <a:endParaRPr lang="es-CO"/>
        </a:p>
      </dgm:t>
    </dgm:pt>
    <dgm:pt modelId="{0C0586BC-A732-4167-8B42-BC99F479D2AB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BC17576D-A87E-4BA5-A15D-DEF29E5F7785}" type="pres">
      <dgm:prSet presAssocID="{55554ABE-44B4-4DC6-BC6D-E31A8BACD25E}" presName="parentLin" presStyleCnt="0"/>
      <dgm:spPr/>
    </dgm:pt>
    <dgm:pt modelId="{0E1906B0-2B9B-4965-ABEE-F9F4C9860296}" type="pres">
      <dgm:prSet presAssocID="{55554ABE-44B4-4DC6-BC6D-E31A8BACD25E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6E6C57BF-2106-4A02-9A95-C2FCD12292EA}" type="pres">
      <dgm:prSet presAssocID="{55554ABE-44B4-4DC6-BC6D-E31A8BACD25E}" presName="parentText" presStyleLbl="node1" presStyleIdx="0" presStyleCnt="2" custScaleY="69919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AD8E41-3518-4B99-A64D-2F86260509E6}" type="pres">
      <dgm:prSet presAssocID="{55554ABE-44B4-4DC6-BC6D-E31A8BACD25E}" presName="negativeSpace" presStyleCnt="0"/>
      <dgm:spPr/>
    </dgm:pt>
    <dgm:pt modelId="{D05F1998-5B9B-4903-B3B0-4FFFD5085673}" type="pres">
      <dgm:prSet presAssocID="{55554ABE-44B4-4DC6-BC6D-E31A8BACD25E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4B95110-A2FF-4743-A8F4-8C0487809776}" type="pres">
      <dgm:prSet presAssocID="{06D8D9AA-2750-45CA-BEFB-A8C036D1CAB3}" presName="spaceBetweenRectangles" presStyleCnt="0"/>
      <dgm:spPr/>
    </dgm:pt>
    <dgm:pt modelId="{2996BE72-82BC-40D0-B2C3-1028AC767DD9}" type="pres">
      <dgm:prSet presAssocID="{12EB48E0-C150-476F-ADD2-2FF4CF160EA4}" presName="parentLin" presStyleCnt="0"/>
      <dgm:spPr/>
    </dgm:pt>
    <dgm:pt modelId="{76F907A5-1E09-4EAB-9C1A-4FA4C46158C9}" type="pres">
      <dgm:prSet presAssocID="{12EB48E0-C150-476F-ADD2-2FF4CF160EA4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8ADE97C1-A072-4A1F-98D0-3D1F6709BE99}" type="pres">
      <dgm:prSet presAssocID="{12EB48E0-C150-476F-ADD2-2FF4CF160EA4}" presName="parentText" presStyleLbl="node1" presStyleIdx="1" presStyleCnt="2" custScaleY="70748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F01006B-996E-4CC1-866A-FC01818C377B}" type="pres">
      <dgm:prSet presAssocID="{12EB48E0-C150-476F-ADD2-2FF4CF160EA4}" presName="negativeSpace" presStyleCnt="0"/>
      <dgm:spPr/>
    </dgm:pt>
    <dgm:pt modelId="{CA190715-518D-4A45-8E5D-1E4D58CFF52A}" type="pres">
      <dgm:prSet presAssocID="{12EB48E0-C150-476F-ADD2-2FF4CF160EA4}" presName="childText" presStyleLbl="conFgAcc1" presStyleIdx="1" presStyleCnt="2" custLinFactNeighborY="-1046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1277D6B-0C9A-4277-8F57-058C3967679D}" type="presOf" srcId="{E6F494A8-8B96-40B4-AF10-D1683F210D0A}" destId="{CA190715-518D-4A45-8E5D-1E4D58CFF52A}" srcOrd="0" destOrd="0" presId="urn:microsoft.com/office/officeart/2005/8/layout/list1"/>
    <dgm:cxn modelId="{D40797B6-AEBE-417C-A15B-ADFFE83B3BD9}" srcId="{12EB48E0-C150-476F-ADD2-2FF4CF160EA4}" destId="{E6F494A8-8B96-40B4-AF10-D1683F210D0A}" srcOrd="0" destOrd="0" parTransId="{C8B11C01-717B-4AC8-BE49-8AC895918EDB}" sibTransId="{D7793D13-5ED1-402E-A17C-BAA09DFCD660}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3EFAEB4A-84F7-4BFE-98E6-C19AFF32B535}" type="presOf" srcId="{129460C4-69D5-4817-9B5E-DC367C31ABCC}" destId="{D05F1998-5B9B-4903-B3B0-4FFFD5085673}" srcOrd="0" destOrd="0" presId="urn:microsoft.com/office/officeart/2005/8/layout/list1"/>
    <dgm:cxn modelId="{67B6510A-1490-4388-BE3D-EA026A3F7620}" type="presOf" srcId="{70E7E4ED-4075-4C79-892B-59713DE3656D}" destId="{0C0586BC-A732-4167-8B42-BC99F479D2AB}" srcOrd="0" destOrd="0" presId="urn:microsoft.com/office/officeart/2005/8/layout/list1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34C8F442-A16E-4E1F-A8CC-53F4B22AB04A}" type="presOf" srcId="{55554ABE-44B4-4DC6-BC6D-E31A8BACD25E}" destId="{0E1906B0-2B9B-4965-ABEE-F9F4C9860296}" srcOrd="0" destOrd="0" presId="urn:microsoft.com/office/officeart/2005/8/layout/list1"/>
    <dgm:cxn modelId="{86807CE1-6A1D-413D-BABF-583C5229CC60}" type="presOf" srcId="{12EB48E0-C150-476F-ADD2-2FF4CF160EA4}" destId="{76F907A5-1E09-4EAB-9C1A-4FA4C46158C9}" srcOrd="0" destOrd="0" presId="urn:microsoft.com/office/officeart/2005/8/layout/list1"/>
    <dgm:cxn modelId="{EEC5690E-82F7-4B08-B70C-0C6285050AE3}" type="presOf" srcId="{55554ABE-44B4-4DC6-BC6D-E31A8BACD25E}" destId="{6E6C57BF-2106-4A02-9A95-C2FCD12292EA}" srcOrd="1" destOrd="0" presId="urn:microsoft.com/office/officeart/2005/8/layout/list1"/>
    <dgm:cxn modelId="{7D0659AE-2400-4BDA-B2C8-6011866B571A}" srcId="{12EB48E0-C150-476F-ADD2-2FF4CF160EA4}" destId="{BD97C6C9-2419-469D-9127-CCB0B183A5B1}" srcOrd="3" destOrd="0" parTransId="{5FBFE0A8-FE2A-4E40-8D0B-8076599DA95B}" sibTransId="{8CEA4DA5-9A69-48C8-85FD-E3C25071BBCF}"/>
    <dgm:cxn modelId="{AF1D85C9-9777-4A4E-A5D1-B2F5DC3EAF2A}" type="presOf" srcId="{007A89EE-2A89-439A-BB4E-BB68A5F7BE63}" destId="{D05F1998-5B9B-4903-B3B0-4FFFD5085673}" srcOrd="0" destOrd="1" presId="urn:microsoft.com/office/officeart/2005/8/layout/list1"/>
    <dgm:cxn modelId="{5AF56741-0192-4D5A-819A-85C7F49B1C30}" srcId="{55554ABE-44B4-4DC6-BC6D-E31A8BACD25E}" destId="{007A89EE-2A89-439A-BB4E-BB68A5F7BE63}" srcOrd="1" destOrd="0" parTransId="{8993CAEE-6A29-4CC1-90B1-987D3D574DC9}" sibTransId="{B7721F67-E66A-49CD-991C-0D36D61DC57F}"/>
    <dgm:cxn modelId="{CEBD2D2C-6F41-444B-A4E2-C0390D143C8B}" type="presOf" srcId="{C9E9CE1A-AC8E-40B5-9A0F-5F7036035B04}" destId="{CA190715-518D-4A45-8E5D-1E4D58CFF52A}" srcOrd="0" destOrd="2" presId="urn:microsoft.com/office/officeart/2005/8/layout/list1"/>
    <dgm:cxn modelId="{11174080-A06D-4444-B5C7-123E85829B31}" type="presOf" srcId="{12EB48E0-C150-476F-ADD2-2FF4CF160EA4}" destId="{8ADE97C1-A072-4A1F-98D0-3D1F6709BE99}" srcOrd="1" destOrd="0" presId="urn:microsoft.com/office/officeart/2005/8/layout/list1"/>
    <dgm:cxn modelId="{0AD8D336-7ED7-4C0D-A4D1-75D33BBC8B7D}" type="presOf" srcId="{BD97C6C9-2419-469D-9127-CCB0B183A5B1}" destId="{CA190715-518D-4A45-8E5D-1E4D58CFF52A}" srcOrd="0" destOrd="3" presId="urn:microsoft.com/office/officeart/2005/8/layout/list1"/>
    <dgm:cxn modelId="{4CAF434B-EB38-4B0C-9253-5021DF24B149}" type="presOf" srcId="{ED5BB763-12A1-4514-A10E-4EA4987D0DB8}" destId="{CA190715-518D-4A45-8E5D-1E4D58CFF52A}" srcOrd="0" destOrd="1" presId="urn:microsoft.com/office/officeart/2005/8/layout/list1"/>
    <dgm:cxn modelId="{7597060B-3995-4013-B09E-9348130A4643}" srcId="{12EB48E0-C150-476F-ADD2-2FF4CF160EA4}" destId="{C9E9CE1A-AC8E-40B5-9A0F-5F7036035B04}" srcOrd="2" destOrd="0" parTransId="{40E50578-E727-459C-B8DD-02C4119C952B}" sibTransId="{788D15C0-A4F9-4764-9711-2A3BAE9A6B64}"/>
    <dgm:cxn modelId="{2342E131-3524-4411-979C-1AA3421D0F3A}" srcId="{70E7E4ED-4075-4C79-892B-59713DE3656D}" destId="{12EB48E0-C150-476F-ADD2-2FF4CF160EA4}" srcOrd="1" destOrd="0" parTransId="{E1478186-3752-42C7-B67A-AE9571627ED7}" sibTransId="{B8AA3DAE-7696-4937-9B6D-D9297B0ECE4C}"/>
    <dgm:cxn modelId="{89566D2F-9515-428C-9ABB-BAAD5524F1E4}" srcId="{12EB48E0-C150-476F-ADD2-2FF4CF160EA4}" destId="{ED5BB763-12A1-4514-A10E-4EA4987D0DB8}" srcOrd="1" destOrd="0" parTransId="{732CEB36-CAC6-4E1E-AF9F-542CEC8EC121}" sibTransId="{2D1F2936-F1C2-4DBC-93EF-483B6A41F84B}"/>
    <dgm:cxn modelId="{BEB09B68-B33A-4C72-B94A-4FC34AC3A7D5}" type="presParOf" srcId="{0C0586BC-A732-4167-8B42-BC99F479D2AB}" destId="{BC17576D-A87E-4BA5-A15D-DEF29E5F7785}" srcOrd="0" destOrd="0" presId="urn:microsoft.com/office/officeart/2005/8/layout/list1"/>
    <dgm:cxn modelId="{97E89885-5B75-44D2-BFC5-2695DF41FE5C}" type="presParOf" srcId="{BC17576D-A87E-4BA5-A15D-DEF29E5F7785}" destId="{0E1906B0-2B9B-4965-ABEE-F9F4C9860296}" srcOrd="0" destOrd="0" presId="urn:microsoft.com/office/officeart/2005/8/layout/list1"/>
    <dgm:cxn modelId="{27E90812-D2CB-4E06-8049-99C6EBE3A48A}" type="presParOf" srcId="{BC17576D-A87E-4BA5-A15D-DEF29E5F7785}" destId="{6E6C57BF-2106-4A02-9A95-C2FCD12292EA}" srcOrd="1" destOrd="0" presId="urn:microsoft.com/office/officeart/2005/8/layout/list1"/>
    <dgm:cxn modelId="{965F4FB4-D4E7-46E5-B729-487BC798169A}" type="presParOf" srcId="{0C0586BC-A732-4167-8B42-BC99F479D2AB}" destId="{73AD8E41-3518-4B99-A64D-2F86260509E6}" srcOrd="1" destOrd="0" presId="urn:microsoft.com/office/officeart/2005/8/layout/list1"/>
    <dgm:cxn modelId="{D9B374BD-FF85-43B6-8202-6705E0D52BEC}" type="presParOf" srcId="{0C0586BC-A732-4167-8B42-BC99F479D2AB}" destId="{D05F1998-5B9B-4903-B3B0-4FFFD5085673}" srcOrd="2" destOrd="0" presId="urn:microsoft.com/office/officeart/2005/8/layout/list1"/>
    <dgm:cxn modelId="{E33D2333-7847-4066-A0EE-EFC3E07D9DAD}" type="presParOf" srcId="{0C0586BC-A732-4167-8B42-BC99F479D2AB}" destId="{B4B95110-A2FF-4743-A8F4-8C0487809776}" srcOrd="3" destOrd="0" presId="urn:microsoft.com/office/officeart/2005/8/layout/list1"/>
    <dgm:cxn modelId="{A381B32B-6B5A-483E-81A7-C5C956F432F0}" type="presParOf" srcId="{0C0586BC-A732-4167-8B42-BC99F479D2AB}" destId="{2996BE72-82BC-40D0-B2C3-1028AC767DD9}" srcOrd="4" destOrd="0" presId="urn:microsoft.com/office/officeart/2005/8/layout/list1"/>
    <dgm:cxn modelId="{93B6C089-8B3E-4340-9D6A-A9D1F1C8B4B9}" type="presParOf" srcId="{2996BE72-82BC-40D0-B2C3-1028AC767DD9}" destId="{76F907A5-1E09-4EAB-9C1A-4FA4C46158C9}" srcOrd="0" destOrd="0" presId="urn:microsoft.com/office/officeart/2005/8/layout/list1"/>
    <dgm:cxn modelId="{3C2E01C9-98D4-4033-8DFA-C4F488CE5EC2}" type="presParOf" srcId="{2996BE72-82BC-40D0-B2C3-1028AC767DD9}" destId="{8ADE97C1-A072-4A1F-98D0-3D1F6709BE99}" srcOrd="1" destOrd="0" presId="urn:microsoft.com/office/officeart/2005/8/layout/list1"/>
    <dgm:cxn modelId="{32F1937D-00BA-42AF-B538-C4CA2A47D076}" type="presParOf" srcId="{0C0586BC-A732-4167-8B42-BC99F479D2AB}" destId="{0F01006B-996E-4CC1-866A-FC01818C377B}" srcOrd="5" destOrd="0" presId="urn:microsoft.com/office/officeart/2005/8/layout/list1"/>
    <dgm:cxn modelId="{6DA0154A-A2CF-4EF5-A70D-6A35A3A9634C}" type="presParOf" srcId="{0C0586BC-A732-4167-8B42-BC99F479D2AB}" destId="{CA190715-518D-4A45-8E5D-1E4D58CFF52A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01EC8ED-8B85-4717-87C2-71DC404B135B}" type="doc">
      <dgm:prSet loTypeId="urn:microsoft.com/office/officeart/2005/8/layout/arrow2" loCatId="process" qsTypeId="urn:microsoft.com/office/officeart/2005/8/quickstyle/simple3" qsCatId="simple" csTypeId="urn:microsoft.com/office/officeart/2005/8/colors/colorful2" csCatId="colorful" phldr="1"/>
      <dgm:spPr/>
    </dgm:pt>
    <dgm:pt modelId="{7210DE32-2DC4-4460-AF79-5069F1EDAAC5}">
      <dgm:prSet phldrT="[Texto]" custT="1"/>
      <dgm:spPr/>
      <dgm:t>
        <a:bodyPr/>
        <a:lstStyle/>
        <a:p>
          <a:pPr algn="ctr"/>
          <a:r>
            <a:rPr lang="es-CO" sz="1400" b="1" dirty="0" smtClean="0">
              <a:latin typeface="Arial" pitchFamily="34" charset="0"/>
              <a:cs typeface="Arial" pitchFamily="34" charset="0"/>
            </a:rPr>
            <a:t>Articulación de la</a:t>
          </a:r>
        </a:p>
        <a:p>
          <a:pPr algn="ctr"/>
          <a:r>
            <a:rPr lang="es-CO" sz="1400" b="1" dirty="0" smtClean="0">
              <a:latin typeface="Arial" pitchFamily="34" charset="0"/>
              <a:cs typeface="Arial" pitchFamily="34" charset="0"/>
            </a:rPr>
            <a:t> EM, ES  y FTDH</a:t>
          </a:r>
          <a:endParaRPr lang="es-CO" sz="1400" b="1" dirty="0">
            <a:latin typeface="Arial" pitchFamily="34" charset="0"/>
            <a:cs typeface="Arial" pitchFamily="34" charset="0"/>
          </a:endParaRPr>
        </a:p>
      </dgm:t>
    </dgm:pt>
    <dgm:pt modelId="{531E4485-C39F-4EEA-8D3B-72A6E837A715}" type="par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6094735-BAEA-4C49-9305-0FFF048FB65E}" type="sib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A5A89751-B832-4ACA-9712-12FC72F0F0C7}">
      <dgm:prSet phldrT="[Texto]" custT="1"/>
      <dgm:spPr/>
      <dgm:t>
        <a:bodyPr/>
        <a:lstStyle/>
        <a:p>
          <a:pPr algn="ctr"/>
          <a:r>
            <a:rPr lang="es-CO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rticulación de acciones con aliados- Mintrabajo, SENA, DNP, CONPES.</a:t>
          </a:r>
        </a:p>
      </dgm:t>
    </dgm:pt>
    <dgm:pt modelId="{22A1079B-9891-4EB8-8A73-62F616E10C6C}" type="par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8C701F0D-D9FD-4EB9-9B9F-2FEDB9C420C5}" type="sib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83892E6-970A-EE4C-86AC-8BEBC36C5777}">
      <dgm:prSet phldrT="[Texto]" custT="1"/>
      <dgm:spPr/>
      <dgm:t>
        <a:bodyPr/>
        <a:lstStyle/>
        <a:p>
          <a:r>
            <a:rPr lang="es-E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cciones de trabajo interinstitucional y coordinación de alianzas público y privadas</a:t>
          </a:r>
          <a:endParaRPr lang="es-CO" sz="1400" b="1" i="0" dirty="0">
            <a:latin typeface="Arial" pitchFamily="34" charset="0"/>
            <a:cs typeface="Arial" pitchFamily="34" charset="0"/>
          </a:endParaRPr>
        </a:p>
      </dgm:t>
    </dgm:pt>
    <dgm:pt modelId="{A59AC11C-C276-5340-8EF2-404C067DEBB8}" type="par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16897AE-D98E-0947-9650-12481B3CB4F5}" type="sib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2C72970-C823-4F88-A4DE-713A87B4AF4F}" type="pres">
      <dgm:prSet presAssocID="{001EC8ED-8B85-4717-87C2-71DC404B135B}" presName="arrowDiagram" presStyleCnt="0">
        <dgm:presLayoutVars>
          <dgm:chMax val="5"/>
          <dgm:dir val="rev"/>
          <dgm:resizeHandles val="exact"/>
        </dgm:presLayoutVars>
      </dgm:prSet>
      <dgm:spPr/>
    </dgm:pt>
    <dgm:pt modelId="{F06BA77A-8CC4-4500-B01A-7AEBE3488E5B}" type="pres">
      <dgm:prSet presAssocID="{001EC8ED-8B85-4717-87C2-71DC404B135B}" presName="arrow" presStyleLbl="bgShp" presStyleIdx="0" presStyleCnt="1" custLinFactNeighborX="-7831" custLinFactNeighborY="-1852"/>
      <dgm:spPr/>
    </dgm:pt>
    <dgm:pt modelId="{B4BEDBC2-5EF8-7E4F-B4B8-207FB5969039}" type="pres">
      <dgm:prSet presAssocID="{001EC8ED-8B85-4717-87C2-71DC404B135B}" presName="arrowDiagram3" presStyleCnt="0"/>
      <dgm:spPr/>
    </dgm:pt>
    <dgm:pt modelId="{95CED8AA-C928-AF43-B868-2B1BF60BFDC1}" type="pres">
      <dgm:prSet presAssocID="{7210DE32-2DC4-4460-AF79-5069F1EDAAC5}" presName="bullet3a" presStyleLbl="node1" presStyleIdx="0" presStyleCnt="3" custFlipVert="1" custFlipHor="1" custScaleX="174415" custScaleY="197658" custLinFactY="-100000" custLinFactNeighborX="-41977" custLinFactNeighborY="-115365"/>
      <dgm:spPr/>
    </dgm:pt>
    <dgm:pt modelId="{1910CD7B-845B-074F-B544-7E6C129FD763}" type="pres">
      <dgm:prSet presAssocID="{7210DE32-2DC4-4460-AF79-5069F1EDAAC5}" presName="textBox3a" presStyleLbl="revTx" presStyleIdx="0" presStyleCnt="3" custAng="0" custScaleX="293478" custScaleY="30617" custLinFactX="17468" custLinFactNeighborX="100000" custLinFactNeighborY="4542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79EB959-2AE1-5547-BCBC-3D8E56C7D151}" type="pres">
      <dgm:prSet presAssocID="{A5A89751-B832-4ACA-9712-12FC72F0F0C7}" presName="bullet3b" presStyleLbl="node1" presStyleIdx="1" presStyleCnt="3" custLinFactNeighborX="-14622" custLinFactNeighborY="-66441"/>
      <dgm:spPr/>
    </dgm:pt>
    <dgm:pt modelId="{3994E9EA-B7B4-8749-9F2A-0CA4FCDDAFF7}" type="pres">
      <dgm:prSet presAssocID="{A5A89751-B832-4ACA-9712-12FC72F0F0C7}" presName="textBox3b" presStyleLbl="revTx" presStyleIdx="1" presStyleCnt="3" custScaleX="132247" custScaleY="32113" custLinFactNeighborX="-9964" custLinFactNeighborY="1134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05B70CA-48C0-6A4F-87DD-68A604E82D0F}" type="pres">
      <dgm:prSet presAssocID="{F83892E6-970A-EE4C-86AC-8BEBC36C5777}" presName="bullet3c" presStyleLbl="node1" presStyleIdx="2" presStyleCnt="3"/>
      <dgm:spPr/>
    </dgm:pt>
    <dgm:pt modelId="{A9DCA420-02A9-C945-A485-10652C0586F9}" type="pres">
      <dgm:prSet presAssocID="{F83892E6-970A-EE4C-86AC-8BEBC36C5777}" presName="textBox3c" presStyleLbl="revTx" presStyleIdx="2" presStyleCnt="3" custScaleX="147828" custScaleY="62394" custLinFactNeighborX="9372" custLinFactNeighborY="557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EE604DD0-49D7-4A2F-925B-A52D031E6FCC}" type="presOf" srcId="{A5A89751-B832-4ACA-9712-12FC72F0F0C7}" destId="{3994E9EA-B7B4-8749-9F2A-0CA4FCDDAFF7}" srcOrd="0" destOrd="0" presId="urn:microsoft.com/office/officeart/2005/8/layout/arrow2"/>
    <dgm:cxn modelId="{F0ED2CE7-FF78-1B4E-9BD8-AF22E3C68CFE}" srcId="{001EC8ED-8B85-4717-87C2-71DC404B135B}" destId="{F83892E6-970A-EE4C-86AC-8BEBC36C5777}" srcOrd="2" destOrd="0" parTransId="{A59AC11C-C276-5340-8EF2-404C067DEBB8}" sibTransId="{B16897AE-D98E-0947-9650-12481B3CB4F5}"/>
    <dgm:cxn modelId="{CD50505B-6395-4855-895A-232C636742AD}" type="presOf" srcId="{001EC8ED-8B85-4717-87C2-71DC404B135B}" destId="{62C72970-C823-4F88-A4DE-713A87B4AF4F}" srcOrd="0" destOrd="0" presId="urn:microsoft.com/office/officeart/2005/8/layout/arrow2"/>
    <dgm:cxn modelId="{ACA8FDF7-A79F-4000-8446-B60FD121A85B}" type="presOf" srcId="{F83892E6-970A-EE4C-86AC-8BEBC36C5777}" destId="{A9DCA420-02A9-C945-A485-10652C0586F9}" srcOrd="0" destOrd="0" presId="urn:microsoft.com/office/officeart/2005/8/layout/arrow2"/>
    <dgm:cxn modelId="{61886885-1F12-43BD-B1B5-97477FC8CF79}" srcId="{001EC8ED-8B85-4717-87C2-71DC404B135B}" destId="{A5A89751-B832-4ACA-9712-12FC72F0F0C7}" srcOrd="1" destOrd="0" parTransId="{22A1079B-9891-4EB8-8A73-62F616E10C6C}" sibTransId="{8C701F0D-D9FD-4EB9-9B9F-2FEDB9C420C5}"/>
    <dgm:cxn modelId="{7F039066-4F02-4827-A50B-A2E196231244}" srcId="{001EC8ED-8B85-4717-87C2-71DC404B135B}" destId="{7210DE32-2DC4-4460-AF79-5069F1EDAAC5}" srcOrd="0" destOrd="0" parTransId="{531E4485-C39F-4EEA-8D3B-72A6E837A715}" sibTransId="{66094735-BAEA-4C49-9305-0FFF048FB65E}"/>
    <dgm:cxn modelId="{57B8CCA2-A9F7-41E7-B4AE-21DA8D751E91}" type="presOf" srcId="{7210DE32-2DC4-4460-AF79-5069F1EDAAC5}" destId="{1910CD7B-845B-074F-B544-7E6C129FD763}" srcOrd="0" destOrd="0" presId="urn:microsoft.com/office/officeart/2005/8/layout/arrow2"/>
    <dgm:cxn modelId="{EC448D02-285B-4BCC-88B1-4FC6C8FCE302}" type="presParOf" srcId="{62C72970-C823-4F88-A4DE-713A87B4AF4F}" destId="{F06BA77A-8CC4-4500-B01A-7AEBE3488E5B}" srcOrd="0" destOrd="0" presId="urn:microsoft.com/office/officeart/2005/8/layout/arrow2"/>
    <dgm:cxn modelId="{56009745-0015-48A2-B3E7-DA13D9C3A793}" type="presParOf" srcId="{62C72970-C823-4F88-A4DE-713A87B4AF4F}" destId="{B4BEDBC2-5EF8-7E4F-B4B8-207FB5969039}" srcOrd="1" destOrd="0" presId="urn:microsoft.com/office/officeart/2005/8/layout/arrow2"/>
    <dgm:cxn modelId="{F3D2B3E9-126B-4AB5-A7A3-5BD4E3768925}" type="presParOf" srcId="{B4BEDBC2-5EF8-7E4F-B4B8-207FB5969039}" destId="{95CED8AA-C928-AF43-B868-2B1BF60BFDC1}" srcOrd="0" destOrd="0" presId="urn:microsoft.com/office/officeart/2005/8/layout/arrow2"/>
    <dgm:cxn modelId="{7B4A4E38-EDCF-4F11-A408-8BEC2922CCAE}" type="presParOf" srcId="{B4BEDBC2-5EF8-7E4F-B4B8-207FB5969039}" destId="{1910CD7B-845B-074F-B544-7E6C129FD763}" srcOrd="1" destOrd="0" presId="urn:microsoft.com/office/officeart/2005/8/layout/arrow2"/>
    <dgm:cxn modelId="{678D4C77-60AD-41C8-92C7-CA582D756C84}" type="presParOf" srcId="{B4BEDBC2-5EF8-7E4F-B4B8-207FB5969039}" destId="{679EB959-2AE1-5547-BCBC-3D8E56C7D151}" srcOrd="2" destOrd="0" presId="urn:microsoft.com/office/officeart/2005/8/layout/arrow2"/>
    <dgm:cxn modelId="{00621ADC-73F9-492A-B03A-3BF4DEB70C30}" type="presParOf" srcId="{B4BEDBC2-5EF8-7E4F-B4B8-207FB5969039}" destId="{3994E9EA-B7B4-8749-9F2A-0CA4FCDDAFF7}" srcOrd="3" destOrd="0" presId="urn:microsoft.com/office/officeart/2005/8/layout/arrow2"/>
    <dgm:cxn modelId="{E1F3244C-3E6E-4360-A05A-CC4EE5AB2120}" type="presParOf" srcId="{B4BEDBC2-5EF8-7E4F-B4B8-207FB5969039}" destId="{505B70CA-48C0-6A4F-87DD-68A604E82D0F}" srcOrd="4" destOrd="0" presId="urn:microsoft.com/office/officeart/2005/8/layout/arrow2"/>
    <dgm:cxn modelId="{F6FECCC1-BC22-4E83-8744-A55B22CD44AE}" type="presParOf" srcId="{B4BEDBC2-5EF8-7E4F-B4B8-207FB5969039}" destId="{A9DCA420-02A9-C945-A485-10652C0586F9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72B9A19-6750-4C3A-9414-58029D9F2C31}" type="doc">
      <dgm:prSet loTypeId="urn:microsoft.com/office/officeart/2005/8/layout/radial3" loCatId="relationship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es-CO"/>
        </a:p>
      </dgm:t>
    </dgm:pt>
    <dgm:pt modelId="{FD139535-1897-41F7-B8A4-300FEE37481B}">
      <dgm:prSet phldrT="[Texto]" custT="1"/>
      <dgm:spPr>
        <a:solidFill>
          <a:srgbClr val="E7D287">
            <a:alpha val="50000"/>
          </a:srgbClr>
        </a:solidFill>
      </dgm:spPr>
      <dgm:t>
        <a:bodyPr/>
        <a:lstStyle/>
        <a:p>
          <a:r>
            <a:rPr lang="es-CO" sz="1600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errar Brechas con Enfoque Regional</a:t>
          </a:r>
          <a:endParaRPr lang="es-CO" sz="1600" b="1" dirty="0">
            <a:effectLst/>
          </a:endParaRPr>
        </a:p>
      </dgm:t>
    </dgm:pt>
    <dgm:pt modelId="{C4F6F5B3-FDB8-4118-85AF-61B49869CA0C}" type="parTrans" cxnId="{0E898815-75A9-49CD-8134-C9C828BC0045}">
      <dgm:prSet/>
      <dgm:spPr/>
      <dgm:t>
        <a:bodyPr/>
        <a:lstStyle/>
        <a:p>
          <a:endParaRPr lang="es-CO" b="1">
            <a:effectLst/>
          </a:endParaRPr>
        </a:p>
      </dgm:t>
    </dgm:pt>
    <dgm:pt modelId="{CD8D1476-9374-49A9-AD46-0A1D8E4F9766}" type="sibTrans" cxnId="{0E898815-75A9-49CD-8134-C9C828BC0045}">
      <dgm:prSet/>
      <dgm:spPr/>
      <dgm:t>
        <a:bodyPr/>
        <a:lstStyle/>
        <a:p>
          <a:endParaRPr lang="es-CO" b="1">
            <a:effectLst/>
          </a:endParaRPr>
        </a:p>
      </dgm:t>
    </dgm:pt>
    <dgm:pt modelId="{A4C1E240-3B13-4E49-8871-8CB4CCDC407A}">
      <dgm:prSet phldrT="[Texto]" custT="1"/>
      <dgm:spPr>
        <a:solidFill>
          <a:srgbClr val="FF9900">
            <a:alpha val="50000"/>
          </a:srgbClr>
        </a:solidFill>
      </dgm:spPr>
      <dgm:t>
        <a:bodyPr/>
        <a:lstStyle/>
        <a:p>
          <a:r>
            <a:rPr lang="es-CO" sz="1800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Innovación y Pertinencia</a:t>
          </a:r>
          <a:endParaRPr lang="es-CO" sz="1800" b="1" dirty="0">
            <a:effectLst/>
          </a:endParaRPr>
        </a:p>
      </dgm:t>
    </dgm:pt>
    <dgm:pt modelId="{BBD13BEA-2283-467E-BE4C-FD45136E6E50}" type="parTrans" cxnId="{4E95E031-1C23-4E87-B9BB-0CDE7A50069D}">
      <dgm:prSet/>
      <dgm:spPr/>
      <dgm:t>
        <a:bodyPr/>
        <a:lstStyle/>
        <a:p>
          <a:endParaRPr lang="es-CO" b="1">
            <a:effectLst/>
          </a:endParaRPr>
        </a:p>
      </dgm:t>
    </dgm:pt>
    <dgm:pt modelId="{B8FDC3AB-0556-48AF-A7B4-0F3B383BDFE3}" type="sibTrans" cxnId="{4E95E031-1C23-4E87-B9BB-0CDE7A50069D}">
      <dgm:prSet/>
      <dgm:spPr/>
      <dgm:t>
        <a:bodyPr/>
        <a:lstStyle/>
        <a:p>
          <a:endParaRPr lang="es-CO" b="1">
            <a:effectLst/>
          </a:endParaRPr>
        </a:p>
      </dgm:t>
    </dgm:pt>
    <dgm:pt modelId="{170AD2B5-013F-4D6C-8FE8-7F773A05EC6D}">
      <dgm:prSet phldrT="[Texto]" custT="1"/>
      <dgm:spPr>
        <a:solidFill>
          <a:schemeClr val="accent6">
            <a:lumMod val="50000"/>
            <a:alpha val="50000"/>
          </a:schemeClr>
        </a:solidFill>
      </dgm:spPr>
      <dgm:t>
        <a:bodyPr/>
        <a:lstStyle/>
        <a:p>
          <a:r>
            <a:rPr lang="es-CO" sz="1800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Modelo de Gestión</a:t>
          </a:r>
          <a:endParaRPr lang="es-CO" sz="1800" b="1" dirty="0">
            <a:effectLst/>
          </a:endParaRPr>
        </a:p>
      </dgm:t>
    </dgm:pt>
    <dgm:pt modelId="{72395E9A-D468-4279-AC87-76D2E027C9C5}" type="parTrans" cxnId="{35B64E7C-D9FB-45CE-BE84-D2F73F589362}">
      <dgm:prSet/>
      <dgm:spPr/>
      <dgm:t>
        <a:bodyPr/>
        <a:lstStyle/>
        <a:p>
          <a:endParaRPr lang="es-CO" b="1">
            <a:effectLst/>
          </a:endParaRPr>
        </a:p>
      </dgm:t>
    </dgm:pt>
    <dgm:pt modelId="{82AAA9E8-0A37-4A74-A058-43AFAC3052AE}" type="sibTrans" cxnId="{35B64E7C-D9FB-45CE-BE84-D2F73F589362}">
      <dgm:prSet/>
      <dgm:spPr/>
      <dgm:t>
        <a:bodyPr/>
        <a:lstStyle/>
        <a:p>
          <a:endParaRPr lang="es-CO" b="1">
            <a:effectLst/>
          </a:endParaRPr>
        </a:p>
      </dgm:t>
    </dgm:pt>
    <dgm:pt modelId="{900023B0-2443-48D0-B0A0-1C71E0F80F8E}">
      <dgm:prSet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es-CO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ALIDAD</a:t>
          </a:r>
          <a:endParaRPr lang="es-CO" b="1" dirty="0">
            <a:effectLst/>
          </a:endParaRPr>
        </a:p>
      </dgm:t>
    </dgm:pt>
    <dgm:pt modelId="{CA0C751F-AB8F-44C6-8C0E-11B61F135DE9}" type="parTrans" cxnId="{19F49F11-E7A0-447C-BDDF-BF6C69779549}">
      <dgm:prSet/>
      <dgm:spPr/>
      <dgm:t>
        <a:bodyPr/>
        <a:lstStyle/>
        <a:p>
          <a:endParaRPr lang="es-CO" b="1">
            <a:effectLst/>
          </a:endParaRPr>
        </a:p>
      </dgm:t>
    </dgm:pt>
    <dgm:pt modelId="{7BA25CCB-97E6-432C-893F-7B628A53D2A5}" type="sibTrans" cxnId="{19F49F11-E7A0-447C-BDDF-BF6C69779549}">
      <dgm:prSet/>
      <dgm:spPr/>
      <dgm:t>
        <a:bodyPr/>
        <a:lstStyle/>
        <a:p>
          <a:endParaRPr lang="es-CO" b="1">
            <a:effectLst/>
          </a:endParaRPr>
        </a:p>
      </dgm:t>
    </dgm:pt>
    <dgm:pt modelId="{9296F4A9-10A1-4181-8B89-F680EA9A58BF}">
      <dgm:prSet/>
      <dgm:spPr/>
      <dgm:t>
        <a:bodyPr/>
        <a:lstStyle/>
        <a:p>
          <a:endParaRPr lang="es-CO"/>
        </a:p>
      </dgm:t>
    </dgm:pt>
    <dgm:pt modelId="{A7E9DC48-2E09-4774-879B-0172B591153B}" type="parTrans" cxnId="{71471B5B-207E-40BE-80F3-9C6AC8C0928A}">
      <dgm:prSet/>
      <dgm:spPr/>
      <dgm:t>
        <a:bodyPr/>
        <a:lstStyle/>
        <a:p>
          <a:endParaRPr lang="es-CO"/>
        </a:p>
      </dgm:t>
    </dgm:pt>
    <dgm:pt modelId="{56FC06E3-91C0-4ABC-8056-7ECE214BC366}" type="sibTrans" cxnId="{71471B5B-207E-40BE-80F3-9C6AC8C0928A}">
      <dgm:prSet/>
      <dgm:spPr/>
      <dgm:t>
        <a:bodyPr/>
        <a:lstStyle/>
        <a:p>
          <a:endParaRPr lang="es-CO"/>
        </a:p>
      </dgm:t>
    </dgm:pt>
    <dgm:pt modelId="{F53EBE28-AD8B-486F-9DE2-765B0A3FEF83}">
      <dgm:prSet/>
      <dgm:spPr/>
      <dgm:t>
        <a:bodyPr/>
        <a:lstStyle/>
        <a:p>
          <a:endParaRPr lang="es-CO"/>
        </a:p>
      </dgm:t>
    </dgm:pt>
    <dgm:pt modelId="{2DC599EB-E303-40FE-ABFF-610E40F3C672}" type="parTrans" cxnId="{AE3A156B-E379-4704-B133-15E04BDADCA8}">
      <dgm:prSet/>
      <dgm:spPr/>
      <dgm:t>
        <a:bodyPr/>
        <a:lstStyle/>
        <a:p>
          <a:endParaRPr lang="es-CO"/>
        </a:p>
      </dgm:t>
    </dgm:pt>
    <dgm:pt modelId="{3625000E-EE9B-4ADB-89FA-355EDC204F87}" type="sibTrans" cxnId="{AE3A156B-E379-4704-B133-15E04BDADCA8}">
      <dgm:prSet/>
      <dgm:spPr/>
      <dgm:t>
        <a:bodyPr/>
        <a:lstStyle/>
        <a:p>
          <a:endParaRPr lang="es-CO"/>
        </a:p>
      </dgm:t>
    </dgm:pt>
    <dgm:pt modelId="{42EBCC15-769D-4670-870B-88E10B758CFC}">
      <dgm:prSet/>
      <dgm:spPr/>
      <dgm:t>
        <a:bodyPr/>
        <a:lstStyle/>
        <a:p>
          <a:endParaRPr lang="es-CO"/>
        </a:p>
      </dgm:t>
    </dgm:pt>
    <dgm:pt modelId="{FFF0A425-F695-40E1-9193-CFAF98F4E4A3}" type="parTrans" cxnId="{2530A399-CA9E-47A2-BECC-9205A42870CF}">
      <dgm:prSet/>
      <dgm:spPr/>
      <dgm:t>
        <a:bodyPr/>
        <a:lstStyle/>
        <a:p>
          <a:endParaRPr lang="es-CO"/>
        </a:p>
      </dgm:t>
    </dgm:pt>
    <dgm:pt modelId="{6F50FF85-7E98-4718-8C6D-8D4033BB140B}" type="sibTrans" cxnId="{2530A399-CA9E-47A2-BECC-9205A42870CF}">
      <dgm:prSet/>
      <dgm:spPr/>
      <dgm:t>
        <a:bodyPr/>
        <a:lstStyle/>
        <a:p>
          <a:endParaRPr lang="es-CO"/>
        </a:p>
      </dgm:t>
    </dgm:pt>
    <dgm:pt modelId="{AE824915-EA91-4303-BFE2-6CA233802D80}">
      <dgm:prSet/>
      <dgm:spPr/>
      <dgm:t>
        <a:bodyPr/>
        <a:lstStyle/>
        <a:p>
          <a:endParaRPr lang="es-CO"/>
        </a:p>
      </dgm:t>
    </dgm:pt>
    <dgm:pt modelId="{D6F148DD-164D-452B-B159-B5B21BE923E3}" type="parTrans" cxnId="{0205BDEE-5B6A-416A-ACC7-1CC4FF6C01B0}">
      <dgm:prSet/>
      <dgm:spPr/>
      <dgm:t>
        <a:bodyPr/>
        <a:lstStyle/>
        <a:p>
          <a:endParaRPr lang="es-CO"/>
        </a:p>
      </dgm:t>
    </dgm:pt>
    <dgm:pt modelId="{12318597-5954-4A25-9FB4-AD5544B96172}" type="sibTrans" cxnId="{0205BDEE-5B6A-416A-ACC7-1CC4FF6C01B0}">
      <dgm:prSet/>
      <dgm:spPr/>
      <dgm:t>
        <a:bodyPr/>
        <a:lstStyle/>
        <a:p>
          <a:endParaRPr lang="es-CO"/>
        </a:p>
      </dgm:t>
    </dgm:pt>
    <dgm:pt modelId="{8B2F8BFA-75DB-4C11-8C41-A8BB6BD53A14}">
      <dgm:prSet/>
      <dgm:spPr/>
      <dgm:t>
        <a:bodyPr/>
        <a:lstStyle/>
        <a:p>
          <a:endParaRPr lang="es-CO"/>
        </a:p>
      </dgm:t>
    </dgm:pt>
    <dgm:pt modelId="{291256C0-7803-43DA-88B7-B9ABA2A8A0F5}" type="parTrans" cxnId="{B9DC0542-2B58-4519-93D7-1E0815A04252}">
      <dgm:prSet/>
      <dgm:spPr/>
      <dgm:t>
        <a:bodyPr/>
        <a:lstStyle/>
        <a:p>
          <a:endParaRPr lang="es-CO"/>
        </a:p>
      </dgm:t>
    </dgm:pt>
    <dgm:pt modelId="{828DC536-6A28-479F-9391-C7FAC03FC35F}" type="sibTrans" cxnId="{B9DC0542-2B58-4519-93D7-1E0815A04252}">
      <dgm:prSet/>
      <dgm:spPr/>
      <dgm:t>
        <a:bodyPr/>
        <a:lstStyle/>
        <a:p>
          <a:endParaRPr lang="es-CO"/>
        </a:p>
      </dgm:t>
    </dgm:pt>
    <dgm:pt modelId="{EE12151B-7CC4-49D1-8525-A327F12A7835}">
      <dgm:prSet/>
      <dgm:spPr/>
      <dgm:t>
        <a:bodyPr/>
        <a:lstStyle/>
        <a:p>
          <a:endParaRPr lang="es-CO"/>
        </a:p>
      </dgm:t>
    </dgm:pt>
    <dgm:pt modelId="{46575FCD-B947-45AD-806E-352E74C98E2D}" type="parTrans" cxnId="{59D460F8-30C6-478C-8C49-DAA8E96C674F}">
      <dgm:prSet/>
      <dgm:spPr/>
      <dgm:t>
        <a:bodyPr/>
        <a:lstStyle/>
        <a:p>
          <a:endParaRPr lang="es-CO"/>
        </a:p>
      </dgm:t>
    </dgm:pt>
    <dgm:pt modelId="{7AEDAA3B-2667-4C46-8535-3CB2736214E4}" type="sibTrans" cxnId="{59D460F8-30C6-478C-8C49-DAA8E96C674F}">
      <dgm:prSet/>
      <dgm:spPr/>
      <dgm:t>
        <a:bodyPr/>
        <a:lstStyle/>
        <a:p>
          <a:endParaRPr lang="es-CO"/>
        </a:p>
      </dgm:t>
    </dgm:pt>
    <dgm:pt modelId="{26EDB95B-78CA-480D-ACCB-B77868E3885D}">
      <dgm:prSet/>
      <dgm:spPr/>
      <dgm:t>
        <a:bodyPr/>
        <a:lstStyle/>
        <a:p>
          <a:endParaRPr lang="es-CO"/>
        </a:p>
      </dgm:t>
    </dgm:pt>
    <dgm:pt modelId="{D5CCDF51-5AF3-44C3-B5DB-F5AAAB1B7F67}" type="parTrans" cxnId="{71F188D0-1359-4288-AC28-4E82E9B731D8}">
      <dgm:prSet/>
      <dgm:spPr/>
      <dgm:t>
        <a:bodyPr/>
        <a:lstStyle/>
        <a:p>
          <a:endParaRPr lang="es-CO"/>
        </a:p>
      </dgm:t>
    </dgm:pt>
    <dgm:pt modelId="{496969FA-2EB1-4477-806F-4F367CEBCCB3}" type="sibTrans" cxnId="{71F188D0-1359-4288-AC28-4E82E9B731D8}">
      <dgm:prSet/>
      <dgm:spPr/>
      <dgm:t>
        <a:bodyPr/>
        <a:lstStyle/>
        <a:p>
          <a:endParaRPr lang="es-CO"/>
        </a:p>
      </dgm:t>
    </dgm:pt>
    <dgm:pt modelId="{59541B7B-1701-48A7-91E7-B66AF577D713}">
      <dgm:prSet/>
      <dgm:spPr/>
      <dgm:t>
        <a:bodyPr/>
        <a:lstStyle/>
        <a:p>
          <a:endParaRPr lang="es-CO"/>
        </a:p>
      </dgm:t>
    </dgm:pt>
    <dgm:pt modelId="{E2E7EF9C-3830-46FB-BF05-5B34BE9E6DD7}" type="parTrans" cxnId="{889F0B48-E5DA-4FEF-B044-560AD25659EC}">
      <dgm:prSet/>
      <dgm:spPr/>
      <dgm:t>
        <a:bodyPr/>
        <a:lstStyle/>
        <a:p>
          <a:endParaRPr lang="es-CO"/>
        </a:p>
      </dgm:t>
    </dgm:pt>
    <dgm:pt modelId="{7F114E74-F050-400E-BCFA-5F861F0545FB}" type="sibTrans" cxnId="{889F0B48-E5DA-4FEF-B044-560AD25659EC}">
      <dgm:prSet/>
      <dgm:spPr/>
      <dgm:t>
        <a:bodyPr/>
        <a:lstStyle/>
        <a:p>
          <a:endParaRPr lang="es-CO"/>
        </a:p>
      </dgm:t>
    </dgm:pt>
    <dgm:pt modelId="{D4732819-34C0-4D7D-9F41-3AA3AFF43CBA}" type="pres">
      <dgm:prSet presAssocID="{472B9A19-6750-4C3A-9414-58029D9F2C31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5B7FBAFF-D96B-44E0-BE87-49091DAF0878}" type="pres">
      <dgm:prSet presAssocID="{472B9A19-6750-4C3A-9414-58029D9F2C31}" presName="radial" presStyleCnt="0">
        <dgm:presLayoutVars>
          <dgm:animLvl val="ctr"/>
        </dgm:presLayoutVars>
      </dgm:prSet>
      <dgm:spPr/>
    </dgm:pt>
    <dgm:pt modelId="{E9DC7A22-CE67-4A7F-8358-F0A6A85EBFEA}" type="pres">
      <dgm:prSet presAssocID="{900023B0-2443-48D0-B0A0-1C71E0F80F8E}" presName="centerShape" presStyleLbl="vennNode1" presStyleIdx="0" presStyleCnt="4"/>
      <dgm:spPr/>
      <dgm:t>
        <a:bodyPr/>
        <a:lstStyle/>
        <a:p>
          <a:endParaRPr lang="es-CO"/>
        </a:p>
      </dgm:t>
    </dgm:pt>
    <dgm:pt modelId="{7C952903-E6D3-4C9A-91A6-E9C5B57C1B54}" type="pres">
      <dgm:prSet presAssocID="{FD139535-1897-41F7-B8A4-300FEE37481B}" presName="node" presStyleLbl="vennNode1" presStyleIdx="1" presStyleCnt="4" custScaleX="142824" custScaleY="142689" custRadScaleRad="11185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3D4FAAF-AABB-4735-9014-1E13443164EF}" type="pres">
      <dgm:prSet presAssocID="{A4C1E240-3B13-4E49-8871-8CB4CCDC407A}" presName="node" presStyleLbl="vennNode1" presStyleIdx="2" presStyleCnt="4" custScaleX="160880" custScaleY="14268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B200E48-2B25-4FBB-A807-45DD431A5277}" type="pres">
      <dgm:prSet presAssocID="{170AD2B5-013F-4D6C-8FE8-7F773A05EC6D}" presName="node" presStyleLbl="vennNode1" presStyleIdx="3" presStyleCnt="4" custScaleX="142824" custScaleY="142689" custRadScaleRad="11321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5B64E7C-D9FB-45CE-BE84-D2F73F589362}" srcId="{900023B0-2443-48D0-B0A0-1C71E0F80F8E}" destId="{170AD2B5-013F-4D6C-8FE8-7F773A05EC6D}" srcOrd="2" destOrd="0" parTransId="{72395E9A-D468-4279-AC87-76D2E027C9C5}" sibTransId="{82AAA9E8-0A37-4A74-A058-43AFAC3052AE}"/>
    <dgm:cxn modelId="{2530A399-CA9E-47A2-BECC-9205A42870CF}" srcId="{472B9A19-6750-4C3A-9414-58029D9F2C31}" destId="{42EBCC15-769D-4670-870B-88E10B758CFC}" srcOrd="3" destOrd="0" parTransId="{FFF0A425-F695-40E1-9193-CFAF98F4E4A3}" sibTransId="{6F50FF85-7E98-4718-8C6D-8D4033BB140B}"/>
    <dgm:cxn modelId="{4E95E031-1C23-4E87-B9BB-0CDE7A50069D}" srcId="{900023B0-2443-48D0-B0A0-1C71E0F80F8E}" destId="{A4C1E240-3B13-4E49-8871-8CB4CCDC407A}" srcOrd="1" destOrd="0" parTransId="{BBD13BEA-2283-467E-BE4C-FD45136E6E50}" sibTransId="{B8FDC3AB-0556-48AF-A7B4-0F3B383BDFE3}"/>
    <dgm:cxn modelId="{19F49F11-E7A0-447C-BDDF-BF6C69779549}" srcId="{472B9A19-6750-4C3A-9414-58029D9F2C31}" destId="{900023B0-2443-48D0-B0A0-1C71E0F80F8E}" srcOrd="0" destOrd="0" parTransId="{CA0C751F-AB8F-44C6-8C0E-11B61F135DE9}" sibTransId="{7BA25CCB-97E6-432C-893F-7B628A53D2A5}"/>
    <dgm:cxn modelId="{0205BDEE-5B6A-416A-ACC7-1CC4FF6C01B0}" srcId="{472B9A19-6750-4C3A-9414-58029D9F2C31}" destId="{AE824915-EA91-4303-BFE2-6CA233802D80}" srcOrd="4" destOrd="0" parTransId="{D6F148DD-164D-452B-B159-B5B21BE923E3}" sibTransId="{12318597-5954-4A25-9FB4-AD5544B96172}"/>
    <dgm:cxn modelId="{AE3A156B-E379-4704-B133-15E04BDADCA8}" srcId="{472B9A19-6750-4C3A-9414-58029D9F2C31}" destId="{F53EBE28-AD8B-486F-9DE2-765B0A3FEF83}" srcOrd="2" destOrd="0" parTransId="{2DC599EB-E303-40FE-ABFF-610E40F3C672}" sibTransId="{3625000E-EE9B-4ADB-89FA-355EDC204F87}"/>
    <dgm:cxn modelId="{889F0B48-E5DA-4FEF-B044-560AD25659EC}" srcId="{472B9A19-6750-4C3A-9414-58029D9F2C31}" destId="{59541B7B-1701-48A7-91E7-B66AF577D713}" srcOrd="8" destOrd="0" parTransId="{E2E7EF9C-3830-46FB-BF05-5B34BE9E6DD7}" sibTransId="{7F114E74-F050-400E-BCFA-5F861F0545FB}"/>
    <dgm:cxn modelId="{6DB268BF-6B17-4572-8470-AEF5C86238E8}" type="presOf" srcId="{472B9A19-6750-4C3A-9414-58029D9F2C31}" destId="{D4732819-34C0-4D7D-9F41-3AA3AFF43CBA}" srcOrd="0" destOrd="0" presId="urn:microsoft.com/office/officeart/2005/8/layout/radial3"/>
    <dgm:cxn modelId="{BE929FF6-928A-4AC1-B4AA-30D3C8B0C391}" type="presOf" srcId="{900023B0-2443-48D0-B0A0-1C71E0F80F8E}" destId="{E9DC7A22-CE67-4A7F-8358-F0A6A85EBFEA}" srcOrd="0" destOrd="0" presId="urn:microsoft.com/office/officeart/2005/8/layout/radial3"/>
    <dgm:cxn modelId="{EB3A2648-2DC9-49DE-A883-98D100D4382F}" type="presOf" srcId="{FD139535-1897-41F7-B8A4-300FEE37481B}" destId="{7C952903-E6D3-4C9A-91A6-E9C5B57C1B54}" srcOrd="0" destOrd="0" presId="urn:microsoft.com/office/officeart/2005/8/layout/radial3"/>
    <dgm:cxn modelId="{FB1634B0-BFF4-4050-9C51-4B314BFE6F50}" type="presOf" srcId="{170AD2B5-013F-4D6C-8FE8-7F773A05EC6D}" destId="{7B200E48-2B25-4FBB-A807-45DD431A5277}" srcOrd="0" destOrd="0" presId="urn:microsoft.com/office/officeart/2005/8/layout/radial3"/>
    <dgm:cxn modelId="{0E898815-75A9-49CD-8134-C9C828BC0045}" srcId="{900023B0-2443-48D0-B0A0-1C71E0F80F8E}" destId="{FD139535-1897-41F7-B8A4-300FEE37481B}" srcOrd="0" destOrd="0" parTransId="{C4F6F5B3-FDB8-4118-85AF-61B49869CA0C}" sibTransId="{CD8D1476-9374-49A9-AD46-0A1D8E4F9766}"/>
    <dgm:cxn modelId="{D43DE7FA-6A69-47A6-8A2B-882A7CB51932}" type="presOf" srcId="{A4C1E240-3B13-4E49-8871-8CB4CCDC407A}" destId="{A3D4FAAF-AABB-4735-9014-1E13443164EF}" srcOrd="0" destOrd="0" presId="urn:microsoft.com/office/officeart/2005/8/layout/radial3"/>
    <dgm:cxn modelId="{71F188D0-1359-4288-AC28-4E82E9B731D8}" srcId="{472B9A19-6750-4C3A-9414-58029D9F2C31}" destId="{26EDB95B-78CA-480D-ACCB-B77868E3885D}" srcOrd="7" destOrd="0" parTransId="{D5CCDF51-5AF3-44C3-B5DB-F5AAAB1B7F67}" sibTransId="{496969FA-2EB1-4477-806F-4F367CEBCCB3}"/>
    <dgm:cxn modelId="{59D460F8-30C6-478C-8C49-DAA8E96C674F}" srcId="{472B9A19-6750-4C3A-9414-58029D9F2C31}" destId="{EE12151B-7CC4-49D1-8525-A327F12A7835}" srcOrd="6" destOrd="0" parTransId="{46575FCD-B947-45AD-806E-352E74C98E2D}" sibTransId="{7AEDAA3B-2667-4C46-8535-3CB2736214E4}"/>
    <dgm:cxn modelId="{B9DC0542-2B58-4519-93D7-1E0815A04252}" srcId="{472B9A19-6750-4C3A-9414-58029D9F2C31}" destId="{8B2F8BFA-75DB-4C11-8C41-A8BB6BD53A14}" srcOrd="5" destOrd="0" parTransId="{291256C0-7803-43DA-88B7-B9ABA2A8A0F5}" sibTransId="{828DC536-6A28-479F-9391-C7FAC03FC35F}"/>
    <dgm:cxn modelId="{71471B5B-207E-40BE-80F3-9C6AC8C0928A}" srcId="{472B9A19-6750-4C3A-9414-58029D9F2C31}" destId="{9296F4A9-10A1-4181-8B89-F680EA9A58BF}" srcOrd="1" destOrd="0" parTransId="{A7E9DC48-2E09-4774-879B-0172B591153B}" sibTransId="{56FC06E3-91C0-4ABC-8056-7ECE214BC366}"/>
    <dgm:cxn modelId="{0418F175-6BEF-4F5F-888A-8D0FD1F73663}" type="presParOf" srcId="{D4732819-34C0-4D7D-9F41-3AA3AFF43CBA}" destId="{5B7FBAFF-D96B-44E0-BE87-49091DAF0878}" srcOrd="0" destOrd="0" presId="urn:microsoft.com/office/officeart/2005/8/layout/radial3"/>
    <dgm:cxn modelId="{06357C17-3C94-4BE3-B985-16D2738E0B87}" type="presParOf" srcId="{5B7FBAFF-D96B-44E0-BE87-49091DAF0878}" destId="{E9DC7A22-CE67-4A7F-8358-F0A6A85EBFEA}" srcOrd="0" destOrd="0" presId="urn:microsoft.com/office/officeart/2005/8/layout/radial3"/>
    <dgm:cxn modelId="{ACD87759-5805-4EFD-9501-2EC4574A9F8E}" type="presParOf" srcId="{5B7FBAFF-D96B-44E0-BE87-49091DAF0878}" destId="{7C952903-E6D3-4C9A-91A6-E9C5B57C1B54}" srcOrd="1" destOrd="0" presId="urn:microsoft.com/office/officeart/2005/8/layout/radial3"/>
    <dgm:cxn modelId="{87BBA5C4-2064-4435-A578-FDD7371F0672}" type="presParOf" srcId="{5B7FBAFF-D96B-44E0-BE87-49091DAF0878}" destId="{A3D4FAAF-AABB-4735-9014-1E13443164EF}" srcOrd="2" destOrd="0" presId="urn:microsoft.com/office/officeart/2005/8/layout/radial3"/>
    <dgm:cxn modelId="{B98DDDDD-59AE-4169-9289-F200AA02133C}" type="presParOf" srcId="{5B7FBAFF-D96B-44E0-BE87-49091DAF0878}" destId="{7B200E48-2B25-4FBB-A807-45DD431A5277}" srcOrd="3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01EC8ED-8B85-4717-87C2-71DC404B135B}" type="doc">
      <dgm:prSet loTypeId="urn:microsoft.com/office/officeart/2005/8/layout/arrow2" loCatId="process" qsTypeId="urn:microsoft.com/office/officeart/2005/8/quickstyle/simple3" qsCatId="simple" csTypeId="urn:microsoft.com/office/officeart/2005/8/colors/colorful2" csCatId="colorful" phldr="1"/>
      <dgm:spPr/>
    </dgm:pt>
    <dgm:pt modelId="{7210DE32-2DC4-4460-AF79-5069F1EDAAC5}">
      <dgm:prSet phldrT="[Texto]" custT="1"/>
      <dgm:spPr/>
      <dgm:t>
        <a:bodyPr/>
        <a:lstStyle/>
        <a:p>
          <a:pPr algn="ctr"/>
          <a:r>
            <a:rPr lang="es-CO" sz="1400" b="1" dirty="0" smtClean="0">
              <a:latin typeface="Arial" pitchFamily="34" charset="0"/>
              <a:cs typeface="Arial" pitchFamily="34" charset="0"/>
            </a:rPr>
            <a:t>Redes Nacionales e Internacionales de FT impulsadas</a:t>
          </a:r>
          <a:endParaRPr lang="es-CO" sz="1400" b="1" dirty="0">
            <a:latin typeface="Arial" pitchFamily="34" charset="0"/>
            <a:cs typeface="Arial" pitchFamily="34" charset="0"/>
          </a:endParaRPr>
        </a:p>
      </dgm:t>
    </dgm:pt>
    <dgm:pt modelId="{531E4485-C39F-4EEA-8D3B-72A6E837A715}" type="par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6094735-BAEA-4C49-9305-0FFF048FB65E}" type="sib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A5A89751-B832-4ACA-9712-12FC72F0F0C7}">
      <dgm:prSet phldrT="[Texto]" custT="1"/>
      <dgm:spPr/>
      <dgm:t>
        <a:bodyPr/>
        <a:lstStyle/>
        <a:p>
          <a:pPr algn="ctr"/>
          <a:r>
            <a:rPr lang="es-CO" sz="16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es-CO" sz="1400" b="1" dirty="0" smtClean="0">
              <a:latin typeface="Arial" pitchFamily="34" charset="0"/>
              <a:cs typeface="Arial" pitchFamily="34" charset="0"/>
            </a:rPr>
            <a:t>Observatorio Laboral con Formación para el Trabajo incluida</a:t>
          </a:r>
          <a:endParaRPr lang="es-CO" sz="14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2A1079B-9891-4EB8-8A73-62F616E10C6C}" type="par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8C701F0D-D9FD-4EB9-9B9F-2FEDB9C420C5}" type="sib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83892E6-970A-EE4C-86AC-8BEBC36C5777}">
      <dgm:prSet phldrT="[Texto]" custT="1"/>
      <dgm:spPr/>
      <dgm:t>
        <a:bodyPr/>
        <a:lstStyle/>
        <a:p>
          <a:pPr algn="ctr"/>
          <a:r>
            <a:rPr lang="es-CO" sz="1600" b="1" i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r>
            <a:rPr lang="es-CO" sz="1400" b="1" dirty="0" smtClean="0">
              <a:latin typeface="Arial" pitchFamily="34" charset="0"/>
              <a:cs typeface="Arial" pitchFamily="34" charset="0"/>
            </a:rPr>
            <a:t>Investigación  y Desarrollo Tecnológico impulsado</a:t>
          </a:r>
          <a:r>
            <a:rPr lang="es-ES" sz="1400" b="1" i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400" b="1" i="0" dirty="0">
            <a:latin typeface="Arial" pitchFamily="34" charset="0"/>
            <a:cs typeface="Arial" pitchFamily="34" charset="0"/>
          </a:endParaRPr>
        </a:p>
      </dgm:t>
    </dgm:pt>
    <dgm:pt modelId="{A59AC11C-C276-5340-8EF2-404C067DEBB8}" type="par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16897AE-D98E-0947-9650-12481B3CB4F5}" type="sib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2C72970-C823-4F88-A4DE-713A87B4AF4F}" type="pres">
      <dgm:prSet presAssocID="{001EC8ED-8B85-4717-87C2-71DC404B135B}" presName="arrowDiagram" presStyleCnt="0">
        <dgm:presLayoutVars>
          <dgm:chMax val="5"/>
          <dgm:dir val="rev"/>
          <dgm:resizeHandles val="exact"/>
        </dgm:presLayoutVars>
      </dgm:prSet>
      <dgm:spPr/>
    </dgm:pt>
    <dgm:pt modelId="{F06BA77A-8CC4-4500-B01A-7AEBE3488E5B}" type="pres">
      <dgm:prSet presAssocID="{001EC8ED-8B85-4717-87C2-71DC404B135B}" presName="arrow" presStyleLbl="bgShp" presStyleIdx="0" presStyleCnt="1" custLinFactNeighborX="-7831" custLinFactNeighborY="-1852"/>
      <dgm:spPr/>
    </dgm:pt>
    <dgm:pt modelId="{B4BEDBC2-5EF8-7E4F-B4B8-207FB5969039}" type="pres">
      <dgm:prSet presAssocID="{001EC8ED-8B85-4717-87C2-71DC404B135B}" presName="arrowDiagram3" presStyleCnt="0"/>
      <dgm:spPr/>
    </dgm:pt>
    <dgm:pt modelId="{95CED8AA-C928-AF43-B868-2B1BF60BFDC1}" type="pres">
      <dgm:prSet presAssocID="{7210DE32-2DC4-4460-AF79-5069F1EDAAC5}" presName="bullet3a" presStyleLbl="node1" presStyleIdx="0" presStyleCnt="3" custFlipVert="1" custFlipHor="1" custScaleX="174415" custScaleY="197658" custLinFactY="-100000" custLinFactNeighborX="-41977" custLinFactNeighborY="-115365"/>
      <dgm:spPr/>
    </dgm:pt>
    <dgm:pt modelId="{1910CD7B-845B-074F-B544-7E6C129FD763}" type="pres">
      <dgm:prSet presAssocID="{7210DE32-2DC4-4460-AF79-5069F1EDAAC5}" presName="textBox3a" presStyleLbl="revTx" presStyleIdx="0" presStyleCnt="3" custAng="0" custScaleX="293478" custScaleY="30617" custLinFactX="52018" custLinFactNeighborX="100000" custLinFactNeighborY="4746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79EB959-2AE1-5547-BCBC-3D8E56C7D151}" type="pres">
      <dgm:prSet presAssocID="{A5A89751-B832-4ACA-9712-12FC72F0F0C7}" presName="bullet3b" presStyleLbl="node1" presStyleIdx="1" presStyleCnt="3" custLinFactNeighborX="-14622" custLinFactNeighborY="-66441"/>
      <dgm:spPr/>
    </dgm:pt>
    <dgm:pt modelId="{3994E9EA-B7B4-8749-9F2A-0CA4FCDDAFF7}" type="pres">
      <dgm:prSet presAssocID="{A5A89751-B832-4ACA-9712-12FC72F0F0C7}" presName="textBox3b" presStyleLbl="revTx" presStyleIdx="1" presStyleCnt="3" custScaleX="132247" custScaleY="32113" custLinFactNeighborX="-9964" custLinFactNeighborY="1474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05B70CA-48C0-6A4F-87DD-68A604E82D0F}" type="pres">
      <dgm:prSet presAssocID="{F83892E6-970A-EE4C-86AC-8BEBC36C5777}" presName="bullet3c" presStyleLbl="node1" presStyleIdx="2" presStyleCnt="3"/>
      <dgm:spPr/>
    </dgm:pt>
    <dgm:pt modelId="{A9DCA420-02A9-C945-A485-10652C0586F9}" type="pres">
      <dgm:prSet presAssocID="{F83892E6-970A-EE4C-86AC-8BEBC36C5777}" presName="textBox3c" presStyleLbl="revTx" presStyleIdx="2" presStyleCnt="3" custScaleX="147828" custScaleY="62394" custLinFactNeighborX="13403" custLinFactNeighborY="557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EBC7D89-EF1C-46F2-AFF7-78C562F272C4}" type="presOf" srcId="{A5A89751-B832-4ACA-9712-12FC72F0F0C7}" destId="{3994E9EA-B7B4-8749-9F2A-0CA4FCDDAFF7}" srcOrd="0" destOrd="0" presId="urn:microsoft.com/office/officeart/2005/8/layout/arrow2"/>
    <dgm:cxn modelId="{F0ED2CE7-FF78-1B4E-9BD8-AF22E3C68CFE}" srcId="{001EC8ED-8B85-4717-87C2-71DC404B135B}" destId="{F83892E6-970A-EE4C-86AC-8BEBC36C5777}" srcOrd="2" destOrd="0" parTransId="{A59AC11C-C276-5340-8EF2-404C067DEBB8}" sibTransId="{B16897AE-D98E-0947-9650-12481B3CB4F5}"/>
    <dgm:cxn modelId="{9AE8D938-1BDC-4F72-AB77-30720526CEB7}" type="presOf" srcId="{7210DE32-2DC4-4460-AF79-5069F1EDAAC5}" destId="{1910CD7B-845B-074F-B544-7E6C129FD763}" srcOrd="0" destOrd="0" presId="urn:microsoft.com/office/officeart/2005/8/layout/arrow2"/>
    <dgm:cxn modelId="{61886885-1F12-43BD-B1B5-97477FC8CF79}" srcId="{001EC8ED-8B85-4717-87C2-71DC404B135B}" destId="{A5A89751-B832-4ACA-9712-12FC72F0F0C7}" srcOrd="1" destOrd="0" parTransId="{22A1079B-9891-4EB8-8A73-62F616E10C6C}" sibTransId="{8C701F0D-D9FD-4EB9-9B9F-2FEDB9C420C5}"/>
    <dgm:cxn modelId="{7F039066-4F02-4827-A50B-A2E196231244}" srcId="{001EC8ED-8B85-4717-87C2-71DC404B135B}" destId="{7210DE32-2DC4-4460-AF79-5069F1EDAAC5}" srcOrd="0" destOrd="0" parTransId="{531E4485-C39F-4EEA-8D3B-72A6E837A715}" sibTransId="{66094735-BAEA-4C49-9305-0FFF048FB65E}"/>
    <dgm:cxn modelId="{C595BB9C-70B8-4EB6-8192-89B5A421981F}" type="presOf" srcId="{001EC8ED-8B85-4717-87C2-71DC404B135B}" destId="{62C72970-C823-4F88-A4DE-713A87B4AF4F}" srcOrd="0" destOrd="0" presId="urn:microsoft.com/office/officeart/2005/8/layout/arrow2"/>
    <dgm:cxn modelId="{E7285826-BFE0-4228-BA96-C7A37E4F7AAE}" type="presOf" srcId="{F83892E6-970A-EE4C-86AC-8BEBC36C5777}" destId="{A9DCA420-02A9-C945-A485-10652C0586F9}" srcOrd="0" destOrd="0" presId="urn:microsoft.com/office/officeart/2005/8/layout/arrow2"/>
    <dgm:cxn modelId="{B1B34BC5-BB52-409D-BCBF-13152D705A14}" type="presParOf" srcId="{62C72970-C823-4F88-A4DE-713A87B4AF4F}" destId="{F06BA77A-8CC4-4500-B01A-7AEBE3488E5B}" srcOrd="0" destOrd="0" presId="urn:microsoft.com/office/officeart/2005/8/layout/arrow2"/>
    <dgm:cxn modelId="{6D5C69AF-95F7-4FF8-8F58-31BE905B9326}" type="presParOf" srcId="{62C72970-C823-4F88-A4DE-713A87B4AF4F}" destId="{B4BEDBC2-5EF8-7E4F-B4B8-207FB5969039}" srcOrd="1" destOrd="0" presId="urn:microsoft.com/office/officeart/2005/8/layout/arrow2"/>
    <dgm:cxn modelId="{6BF51D4D-5189-4990-AE5F-F2D8D3CA150E}" type="presParOf" srcId="{B4BEDBC2-5EF8-7E4F-B4B8-207FB5969039}" destId="{95CED8AA-C928-AF43-B868-2B1BF60BFDC1}" srcOrd="0" destOrd="0" presId="urn:microsoft.com/office/officeart/2005/8/layout/arrow2"/>
    <dgm:cxn modelId="{660FCDD8-1151-4E41-B38D-7C53C4593D02}" type="presParOf" srcId="{B4BEDBC2-5EF8-7E4F-B4B8-207FB5969039}" destId="{1910CD7B-845B-074F-B544-7E6C129FD763}" srcOrd="1" destOrd="0" presId="urn:microsoft.com/office/officeart/2005/8/layout/arrow2"/>
    <dgm:cxn modelId="{8334220B-FEA7-49A6-B2CE-2691E9A0FED8}" type="presParOf" srcId="{B4BEDBC2-5EF8-7E4F-B4B8-207FB5969039}" destId="{679EB959-2AE1-5547-BCBC-3D8E56C7D151}" srcOrd="2" destOrd="0" presId="urn:microsoft.com/office/officeart/2005/8/layout/arrow2"/>
    <dgm:cxn modelId="{76B45C28-5E95-4A78-8DD9-746EA773B123}" type="presParOf" srcId="{B4BEDBC2-5EF8-7E4F-B4B8-207FB5969039}" destId="{3994E9EA-B7B4-8749-9F2A-0CA4FCDDAFF7}" srcOrd="3" destOrd="0" presId="urn:microsoft.com/office/officeart/2005/8/layout/arrow2"/>
    <dgm:cxn modelId="{7E879B7D-06F0-4EE5-BBF2-4F8027F5FD75}" type="presParOf" srcId="{B4BEDBC2-5EF8-7E4F-B4B8-207FB5969039}" destId="{505B70CA-48C0-6A4F-87DD-68A604E82D0F}" srcOrd="4" destOrd="0" presId="urn:microsoft.com/office/officeart/2005/8/layout/arrow2"/>
    <dgm:cxn modelId="{C69D9E16-C00F-490E-B1FB-EC49D25A6EB9}" type="presParOf" srcId="{B4BEDBC2-5EF8-7E4F-B4B8-207FB5969039}" destId="{A9DCA420-02A9-C945-A485-10652C0586F9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01EC8ED-8B85-4717-87C2-71DC404B135B}" type="doc">
      <dgm:prSet loTypeId="urn:microsoft.com/office/officeart/2005/8/layout/arrow2" loCatId="process" qsTypeId="urn:microsoft.com/office/officeart/2005/8/quickstyle/simple3" qsCatId="simple" csTypeId="urn:microsoft.com/office/officeart/2005/8/colors/colorful2" csCatId="colorful" phldr="1"/>
      <dgm:spPr/>
    </dgm:pt>
    <dgm:pt modelId="{7210DE32-2DC4-4460-AF79-5069F1EDAAC5}">
      <dgm:prSet phldrT="[Texto]" custT="1"/>
      <dgm:spPr/>
      <dgm:t>
        <a:bodyPr/>
        <a:lstStyle/>
        <a:p>
          <a:pPr algn="ctr"/>
          <a:r>
            <a:rPr lang="es-CO" sz="1600" b="1" dirty="0" smtClean="0">
              <a:cs typeface="Arial"/>
            </a:rPr>
            <a:t>Modelo de gestión por procesos  fortalecido.</a:t>
          </a:r>
          <a:endParaRPr lang="es-CO" sz="1600" b="1" dirty="0" smtClean="0">
            <a:cs typeface="Arial" pitchFamily="34" charset="0"/>
          </a:endParaRPr>
        </a:p>
      </dgm:t>
    </dgm:pt>
    <dgm:pt modelId="{531E4485-C39F-4EEA-8D3B-72A6E837A715}" type="par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6094735-BAEA-4C49-9305-0FFF048FB65E}" type="sibTrans" cxnId="{7F039066-4F02-4827-A50B-A2E196231244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A5A89751-B832-4ACA-9712-12FC72F0F0C7}">
      <dgm:prSet phldrT="[Texto]" custT="1"/>
      <dgm:spPr/>
      <dgm:t>
        <a:bodyPr/>
        <a:lstStyle/>
        <a:p>
          <a:r>
            <a:rPr lang="es-CO" sz="16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es-CO" sz="1600" b="1" dirty="0" smtClean="0">
              <a:cs typeface="Arial"/>
            </a:rPr>
            <a:t> Sistema de Información de Aseguramiento de Calidad- SIET fortalecido </a:t>
          </a:r>
          <a:r>
            <a:rPr lang="es-ES" sz="1600" b="1" i="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6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2A1079B-9891-4EB8-8A73-62F616E10C6C}" type="par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8C701F0D-D9FD-4EB9-9B9F-2FEDB9C420C5}" type="sib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83892E6-970A-EE4C-86AC-8BEBC36C5777}">
      <dgm:prSet phldrT="[Texto]" custT="1"/>
      <dgm:spPr/>
      <dgm:t>
        <a:bodyPr/>
        <a:lstStyle/>
        <a:p>
          <a:r>
            <a:rPr lang="es-ES" sz="1600" b="1" dirty="0" smtClean="0">
              <a:ea typeface="Lucida Grande"/>
              <a:cs typeface="Arial"/>
            </a:rPr>
            <a:t>Distribución equitativa, el seguimiento y el control a los recursos de FTDH</a:t>
          </a:r>
          <a:r>
            <a:rPr lang="es-ES" sz="1600" b="1" i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600" b="1" i="0" dirty="0">
            <a:latin typeface="Arial" pitchFamily="34" charset="0"/>
            <a:cs typeface="Arial" pitchFamily="34" charset="0"/>
          </a:endParaRPr>
        </a:p>
      </dgm:t>
    </dgm:pt>
    <dgm:pt modelId="{A59AC11C-C276-5340-8EF2-404C067DEBB8}" type="par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16897AE-D98E-0947-9650-12481B3CB4F5}" type="sib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2C72970-C823-4F88-A4DE-713A87B4AF4F}" type="pres">
      <dgm:prSet presAssocID="{001EC8ED-8B85-4717-87C2-71DC404B135B}" presName="arrowDiagram" presStyleCnt="0">
        <dgm:presLayoutVars>
          <dgm:chMax val="5"/>
          <dgm:dir val="rev"/>
          <dgm:resizeHandles val="exact"/>
        </dgm:presLayoutVars>
      </dgm:prSet>
      <dgm:spPr/>
    </dgm:pt>
    <dgm:pt modelId="{F06BA77A-8CC4-4500-B01A-7AEBE3488E5B}" type="pres">
      <dgm:prSet presAssocID="{001EC8ED-8B85-4717-87C2-71DC404B135B}" presName="arrow" presStyleLbl="bgShp" presStyleIdx="0" presStyleCnt="1" custLinFactNeighborX="-7831" custLinFactNeighborY="-1852"/>
      <dgm:spPr/>
    </dgm:pt>
    <dgm:pt modelId="{B4BEDBC2-5EF8-7E4F-B4B8-207FB5969039}" type="pres">
      <dgm:prSet presAssocID="{001EC8ED-8B85-4717-87C2-71DC404B135B}" presName="arrowDiagram3" presStyleCnt="0"/>
      <dgm:spPr/>
    </dgm:pt>
    <dgm:pt modelId="{95CED8AA-C928-AF43-B868-2B1BF60BFDC1}" type="pres">
      <dgm:prSet presAssocID="{7210DE32-2DC4-4460-AF79-5069F1EDAAC5}" presName="bullet3a" presStyleLbl="node1" presStyleIdx="0" presStyleCnt="3" custFlipVert="1" custFlipHor="1" custScaleX="174415" custScaleY="197658" custLinFactY="-100000" custLinFactNeighborX="-41977" custLinFactNeighborY="-115365"/>
      <dgm:spPr/>
    </dgm:pt>
    <dgm:pt modelId="{1910CD7B-845B-074F-B544-7E6C129FD763}" type="pres">
      <dgm:prSet presAssocID="{7210DE32-2DC4-4460-AF79-5069F1EDAAC5}" presName="textBox3a" presStyleLbl="revTx" presStyleIdx="0" presStyleCnt="3" custAng="0" custScaleX="176396" custScaleY="30617" custLinFactX="36567" custLinFactNeighborX="100000" custLinFactNeighborY="4746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79EB959-2AE1-5547-BCBC-3D8E56C7D151}" type="pres">
      <dgm:prSet presAssocID="{A5A89751-B832-4ACA-9712-12FC72F0F0C7}" presName="bullet3b" presStyleLbl="node1" presStyleIdx="1" presStyleCnt="3" custLinFactNeighborX="-14622" custLinFactNeighborY="-66441"/>
      <dgm:spPr/>
    </dgm:pt>
    <dgm:pt modelId="{3994E9EA-B7B4-8749-9F2A-0CA4FCDDAFF7}" type="pres">
      <dgm:prSet presAssocID="{A5A89751-B832-4ACA-9712-12FC72F0F0C7}" presName="textBox3b" presStyleLbl="revTx" presStyleIdx="1" presStyleCnt="3" custScaleX="132247" custScaleY="32113" custLinFactNeighborX="-9964" custLinFactNeighborY="1474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05B70CA-48C0-6A4F-87DD-68A604E82D0F}" type="pres">
      <dgm:prSet presAssocID="{F83892E6-970A-EE4C-86AC-8BEBC36C5777}" presName="bullet3c" presStyleLbl="node1" presStyleIdx="2" presStyleCnt="3"/>
      <dgm:spPr/>
    </dgm:pt>
    <dgm:pt modelId="{A9DCA420-02A9-C945-A485-10652C0586F9}" type="pres">
      <dgm:prSet presAssocID="{F83892E6-970A-EE4C-86AC-8BEBC36C5777}" presName="textBox3c" presStyleLbl="revTx" presStyleIdx="2" presStyleCnt="3" custScaleX="147828" custScaleY="62394" custLinFactNeighborX="9372" custLinFactNeighborY="557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8D0EE65-82A3-46E9-B815-11B22E310AF7}" type="presOf" srcId="{7210DE32-2DC4-4460-AF79-5069F1EDAAC5}" destId="{1910CD7B-845B-074F-B544-7E6C129FD763}" srcOrd="0" destOrd="0" presId="urn:microsoft.com/office/officeart/2005/8/layout/arrow2"/>
    <dgm:cxn modelId="{8F9F1468-7C63-4046-BFA5-BEFA9D8473E7}" type="presOf" srcId="{F83892E6-970A-EE4C-86AC-8BEBC36C5777}" destId="{A9DCA420-02A9-C945-A485-10652C0586F9}" srcOrd="0" destOrd="0" presId="urn:microsoft.com/office/officeart/2005/8/layout/arrow2"/>
    <dgm:cxn modelId="{F0ED2CE7-FF78-1B4E-9BD8-AF22E3C68CFE}" srcId="{001EC8ED-8B85-4717-87C2-71DC404B135B}" destId="{F83892E6-970A-EE4C-86AC-8BEBC36C5777}" srcOrd="2" destOrd="0" parTransId="{A59AC11C-C276-5340-8EF2-404C067DEBB8}" sibTransId="{B16897AE-D98E-0947-9650-12481B3CB4F5}"/>
    <dgm:cxn modelId="{AEB4C48C-AB38-409B-B273-B9983D45F523}" type="presOf" srcId="{A5A89751-B832-4ACA-9712-12FC72F0F0C7}" destId="{3994E9EA-B7B4-8749-9F2A-0CA4FCDDAFF7}" srcOrd="0" destOrd="0" presId="urn:microsoft.com/office/officeart/2005/8/layout/arrow2"/>
    <dgm:cxn modelId="{61886885-1F12-43BD-B1B5-97477FC8CF79}" srcId="{001EC8ED-8B85-4717-87C2-71DC404B135B}" destId="{A5A89751-B832-4ACA-9712-12FC72F0F0C7}" srcOrd="1" destOrd="0" parTransId="{22A1079B-9891-4EB8-8A73-62F616E10C6C}" sibTransId="{8C701F0D-D9FD-4EB9-9B9F-2FEDB9C420C5}"/>
    <dgm:cxn modelId="{7F039066-4F02-4827-A50B-A2E196231244}" srcId="{001EC8ED-8B85-4717-87C2-71DC404B135B}" destId="{7210DE32-2DC4-4460-AF79-5069F1EDAAC5}" srcOrd="0" destOrd="0" parTransId="{531E4485-C39F-4EEA-8D3B-72A6E837A715}" sibTransId="{66094735-BAEA-4C49-9305-0FFF048FB65E}"/>
    <dgm:cxn modelId="{4E03F6B2-658A-4FAD-8C65-4C5C29A48C70}" type="presOf" srcId="{001EC8ED-8B85-4717-87C2-71DC404B135B}" destId="{62C72970-C823-4F88-A4DE-713A87B4AF4F}" srcOrd="0" destOrd="0" presId="urn:microsoft.com/office/officeart/2005/8/layout/arrow2"/>
    <dgm:cxn modelId="{EF7CB040-5601-43FE-9888-FF76596B6091}" type="presParOf" srcId="{62C72970-C823-4F88-A4DE-713A87B4AF4F}" destId="{F06BA77A-8CC4-4500-B01A-7AEBE3488E5B}" srcOrd="0" destOrd="0" presId="urn:microsoft.com/office/officeart/2005/8/layout/arrow2"/>
    <dgm:cxn modelId="{8BED06DC-170D-42A0-872B-1E64DAF56AE5}" type="presParOf" srcId="{62C72970-C823-4F88-A4DE-713A87B4AF4F}" destId="{B4BEDBC2-5EF8-7E4F-B4B8-207FB5969039}" srcOrd="1" destOrd="0" presId="urn:microsoft.com/office/officeart/2005/8/layout/arrow2"/>
    <dgm:cxn modelId="{2D758255-D0FC-4E7A-8A75-62AB1A0870FE}" type="presParOf" srcId="{B4BEDBC2-5EF8-7E4F-B4B8-207FB5969039}" destId="{95CED8AA-C928-AF43-B868-2B1BF60BFDC1}" srcOrd="0" destOrd="0" presId="urn:microsoft.com/office/officeart/2005/8/layout/arrow2"/>
    <dgm:cxn modelId="{DC3D66A7-7CE9-43DE-824F-2DFE6544EF83}" type="presParOf" srcId="{B4BEDBC2-5EF8-7E4F-B4B8-207FB5969039}" destId="{1910CD7B-845B-074F-B544-7E6C129FD763}" srcOrd="1" destOrd="0" presId="urn:microsoft.com/office/officeart/2005/8/layout/arrow2"/>
    <dgm:cxn modelId="{4091A3C7-E9DC-451B-A29F-1CC5FD12BDDB}" type="presParOf" srcId="{B4BEDBC2-5EF8-7E4F-B4B8-207FB5969039}" destId="{679EB959-2AE1-5547-BCBC-3D8E56C7D151}" srcOrd="2" destOrd="0" presId="urn:microsoft.com/office/officeart/2005/8/layout/arrow2"/>
    <dgm:cxn modelId="{1C2CAA67-9890-4F11-A60E-77D2D36E2D29}" type="presParOf" srcId="{B4BEDBC2-5EF8-7E4F-B4B8-207FB5969039}" destId="{3994E9EA-B7B4-8749-9F2A-0CA4FCDDAFF7}" srcOrd="3" destOrd="0" presId="urn:microsoft.com/office/officeart/2005/8/layout/arrow2"/>
    <dgm:cxn modelId="{F66802DD-5746-4D80-B052-B3F8B419F372}" type="presParOf" srcId="{B4BEDBC2-5EF8-7E4F-B4B8-207FB5969039}" destId="{505B70CA-48C0-6A4F-87DD-68A604E82D0F}" srcOrd="4" destOrd="0" presId="urn:microsoft.com/office/officeart/2005/8/layout/arrow2"/>
    <dgm:cxn modelId="{AA33F879-45B3-4574-B6CA-14A43007FFA2}" type="presParOf" srcId="{B4BEDBC2-5EF8-7E4F-B4B8-207FB5969039}" destId="{A9DCA420-02A9-C945-A485-10652C0586F9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72A768A6-71AD-48BD-BBEE-9C7442F80471}" type="doc">
      <dgm:prSet loTypeId="urn:microsoft.com/office/officeart/2005/8/layout/target1" loCatId="relationship" qsTypeId="urn:microsoft.com/office/officeart/2005/8/quickstyle/simple1" qsCatId="simple" csTypeId="urn:microsoft.com/office/officeart/2005/8/colors/colorful1#3" csCatId="colorful" phldr="1"/>
      <dgm:spPr/>
    </dgm:pt>
    <dgm:pt modelId="{06C2FD6D-F43A-4ED6-A9F5-09F1F9772165}">
      <dgm:prSet phldrT="[Texto]"/>
      <dgm:spPr/>
      <dgm:t>
        <a:bodyPr/>
        <a:lstStyle/>
        <a:p>
          <a:r>
            <a:rPr lang="es-CO" b="1" dirty="0" smtClean="0"/>
            <a:t>GESTIÓN DEL CONOCIMIENTO</a:t>
          </a:r>
          <a:endParaRPr lang="es-CO" b="1" dirty="0"/>
        </a:p>
      </dgm:t>
    </dgm:pt>
    <dgm:pt modelId="{23944C7A-B5DE-45C1-918C-80277D4A4FB6}" type="parTrans" cxnId="{04EA009D-DB2D-4C7C-9560-A2C501455274}">
      <dgm:prSet/>
      <dgm:spPr/>
      <dgm:t>
        <a:bodyPr/>
        <a:lstStyle/>
        <a:p>
          <a:endParaRPr lang="es-CO"/>
        </a:p>
      </dgm:t>
    </dgm:pt>
    <dgm:pt modelId="{DC45D4DE-E6CF-438B-8AA2-BBC338E6A1A7}" type="sibTrans" cxnId="{04EA009D-DB2D-4C7C-9560-A2C501455274}">
      <dgm:prSet/>
      <dgm:spPr/>
      <dgm:t>
        <a:bodyPr/>
        <a:lstStyle/>
        <a:p>
          <a:endParaRPr lang="es-CO"/>
        </a:p>
      </dgm:t>
    </dgm:pt>
    <dgm:pt modelId="{FC2A0FFA-CF8A-4045-B79C-7FEFF57B8F73}">
      <dgm:prSet phldrT="[Texto]"/>
      <dgm:spPr/>
      <dgm:t>
        <a:bodyPr/>
        <a:lstStyle/>
        <a:p>
          <a:r>
            <a:rPr lang="es-CO" b="1" dirty="0" smtClean="0"/>
            <a:t>FORMULACIÓN Y ADOPCIÓN DE POLITICAS</a:t>
          </a:r>
          <a:endParaRPr lang="es-CO" b="1" dirty="0"/>
        </a:p>
      </dgm:t>
    </dgm:pt>
    <dgm:pt modelId="{00444B7D-4020-4200-AFA7-90382E9E19FB}" type="parTrans" cxnId="{041EC867-BFCF-455D-966D-87BD6C0D50B0}">
      <dgm:prSet/>
      <dgm:spPr/>
      <dgm:t>
        <a:bodyPr/>
        <a:lstStyle/>
        <a:p>
          <a:endParaRPr lang="es-CO"/>
        </a:p>
      </dgm:t>
    </dgm:pt>
    <dgm:pt modelId="{1D9A4967-A2A1-43B8-AB43-9E487A276B7D}" type="sibTrans" cxnId="{041EC867-BFCF-455D-966D-87BD6C0D50B0}">
      <dgm:prSet/>
      <dgm:spPr/>
      <dgm:t>
        <a:bodyPr/>
        <a:lstStyle/>
        <a:p>
          <a:endParaRPr lang="es-CO"/>
        </a:p>
      </dgm:t>
    </dgm:pt>
    <dgm:pt modelId="{4C10A35B-EE73-4D1A-B357-D39DC4747D3B}">
      <dgm:prSet phldrT="[Texto]"/>
      <dgm:spPr/>
      <dgm:t>
        <a:bodyPr/>
        <a:lstStyle/>
        <a:p>
          <a:r>
            <a:rPr lang="es-CO" b="1" dirty="0" smtClean="0"/>
            <a:t>MONITOREO, VIGILANCIA Y CONTROL</a:t>
          </a:r>
          <a:endParaRPr lang="es-CO" b="1" dirty="0"/>
        </a:p>
      </dgm:t>
    </dgm:pt>
    <dgm:pt modelId="{8B35F593-E821-41A7-AC31-FCBD4FA5DF74}" type="parTrans" cxnId="{8EC65F22-2786-434B-AFC5-F59271512604}">
      <dgm:prSet/>
      <dgm:spPr/>
      <dgm:t>
        <a:bodyPr/>
        <a:lstStyle/>
        <a:p>
          <a:endParaRPr lang="es-CO"/>
        </a:p>
      </dgm:t>
    </dgm:pt>
    <dgm:pt modelId="{4ADD4E11-2E5C-4E44-88C3-E0E9EF055921}" type="sibTrans" cxnId="{8EC65F22-2786-434B-AFC5-F59271512604}">
      <dgm:prSet/>
      <dgm:spPr/>
      <dgm:t>
        <a:bodyPr/>
        <a:lstStyle/>
        <a:p>
          <a:endParaRPr lang="es-CO"/>
        </a:p>
      </dgm:t>
    </dgm:pt>
    <dgm:pt modelId="{8E87B075-98F8-4855-A199-0F2723DB6F4E}">
      <dgm:prSet/>
      <dgm:spPr/>
      <dgm:t>
        <a:bodyPr/>
        <a:lstStyle/>
        <a:p>
          <a:r>
            <a:rPr lang="es-CO" b="1" dirty="0" smtClean="0"/>
            <a:t>IMPLEMENTACIÓN DE POLITICAS</a:t>
          </a:r>
          <a:endParaRPr lang="es-CO" b="1" dirty="0"/>
        </a:p>
      </dgm:t>
    </dgm:pt>
    <dgm:pt modelId="{133BB3A6-09BD-467E-97DD-09CC3C6B6642}" type="parTrans" cxnId="{9CD8B53B-3BB1-4DF8-93C3-C01E87254251}">
      <dgm:prSet/>
      <dgm:spPr/>
      <dgm:t>
        <a:bodyPr/>
        <a:lstStyle/>
        <a:p>
          <a:endParaRPr lang="es-CO"/>
        </a:p>
      </dgm:t>
    </dgm:pt>
    <dgm:pt modelId="{AF6682B6-C126-4F52-B62D-FA21A0849D30}" type="sibTrans" cxnId="{9CD8B53B-3BB1-4DF8-93C3-C01E87254251}">
      <dgm:prSet/>
      <dgm:spPr/>
      <dgm:t>
        <a:bodyPr/>
        <a:lstStyle/>
        <a:p>
          <a:endParaRPr lang="es-CO"/>
        </a:p>
      </dgm:t>
    </dgm:pt>
    <dgm:pt modelId="{21241C19-C6A3-47DD-86E0-A79D5CD1829F}">
      <dgm:prSet/>
      <dgm:spPr/>
      <dgm:t>
        <a:bodyPr/>
        <a:lstStyle/>
        <a:p>
          <a:r>
            <a:rPr lang="es-CO" b="1" dirty="0" smtClean="0"/>
            <a:t>GESTION Y ARTICULACION DE LAS PARTES</a:t>
          </a:r>
          <a:endParaRPr lang="es-CO" b="1" dirty="0"/>
        </a:p>
      </dgm:t>
    </dgm:pt>
    <dgm:pt modelId="{61A31EBC-0EDE-47DF-A905-7FDF31FAEFE8}" type="parTrans" cxnId="{B50465B1-9B1B-4726-BA1D-0E30A1FD9721}">
      <dgm:prSet/>
      <dgm:spPr/>
      <dgm:t>
        <a:bodyPr/>
        <a:lstStyle/>
        <a:p>
          <a:endParaRPr lang="es-CO"/>
        </a:p>
      </dgm:t>
    </dgm:pt>
    <dgm:pt modelId="{DCF2502E-119A-4368-8CBD-9C3FA58ACF89}" type="sibTrans" cxnId="{B50465B1-9B1B-4726-BA1D-0E30A1FD9721}">
      <dgm:prSet/>
      <dgm:spPr/>
      <dgm:t>
        <a:bodyPr/>
        <a:lstStyle/>
        <a:p>
          <a:endParaRPr lang="es-CO"/>
        </a:p>
      </dgm:t>
    </dgm:pt>
    <dgm:pt modelId="{3F528755-D440-470D-A70C-8C08F921AD30}" type="pres">
      <dgm:prSet presAssocID="{72A768A6-71AD-48BD-BBEE-9C7442F80471}" presName="composite" presStyleCnt="0">
        <dgm:presLayoutVars>
          <dgm:chMax val="5"/>
          <dgm:dir/>
          <dgm:resizeHandles val="exact"/>
        </dgm:presLayoutVars>
      </dgm:prSet>
      <dgm:spPr/>
    </dgm:pt>
    <dgm:pt modelId="{752C7D75-F4B4-4A2B-A792-0F99DA7EB9C1}" type="pres">
      <dgm:prSet presAssocID="{06C2FD6D-F43A-4ED6-A9F5-09F1F9772165}" presName="circle1" presStyleLbl="lnNode1" presStyleIdx="0" presStyleCnt="5"/>
      <dgm:spPr/>
    </dgm:pt>
    <dgm:pt modelId="{04FC0587-71D3-4824-AEC2-30942CCF1898}" type="pres">
      <dgm:prSet presAssocID="{06C2FD6D-F43A-4ED6-A9F5-09F1F9772165}" presName="text1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1EB0437-EF2E-4588-9841-AB808B3F8758}" type="pres">
      <dgm:prSet presAssocID="{06C2FD6D-F43A-4ED6-A9F5-09F1F9772165}" presName="line1" presStyleLbl="callout" presStyleIdx="0" presStyleCnt="10"/>
      <dgm:spPr>
        <a:ln>
          <a:solidFill>
            <a:schemeClr val="accent2">
              <a:lumMod val="40000"/>
              <a:lumOff val="60000"/>
            </a:schemeClr>
          </a:solidFill>
        </a:ln>
      </dgm:spPr>
    </dgm:pt>
    <dgm:pt modelId="{E00AAFF1-981B-491C-AA7F-7DFCB8F4B662}" type="pres">
      <dgm:prSet presAssocID="{06C2FD6D-F43A-4ED6-A9F5-09F1F9772165}" presName="d1" presStyleLbl="callout" presStyleIdx="1" presStyleCnt="10"/>
      <dgm:spPr/>
      <dgm:t>
        <a:bodyPr/>
        <a:lstStyle/>
        <a:p>
          <a:endParaRPr lang="es-CO"/>
        </a:p>
      </dgm:t>
    </dgm:pt>
    <dgm:pt modelId="{F3AB410B-21F0-4D4B-921D-250ABD5FCBCA}" type="pres">
      <dgm:prSet presAssocID="{FC2A0FFA-CF8A-4045-B79C-7FEFF57B8F73}" presName="circle2" presStyleLbl="lnNode1" presStyleIdx="1" presStyleCnt="5"/>
      <dgm:spPr/>
    </dgm:pt>
    <dgm:pt modelId="{6C393426-5ACF-461E-9481-8FD1B9CAB812}" type="pres">
      <dgm:prSet presAssocID="{FC2A0FFA-CF8A-4045-B79C-7FEFF57B8F73}" presName="text2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AC3F27D-40FE-4490-9FEB-1AA2D81ABE14}" type="pres">
      <dgm:prSet presAssocID="{FC2A0FFA-CF8A-4045-B79C-7FEFF57B8F73}" presName="line2" presStyleLbl="callout" presStyleIdx="2" presStyleCnt="10"/>
      <dgm:spPr/>
    </dgm:pt>
    <dgm:pt modelId="{E5430629-A8C5-4064-821A-57410F41D9B1}" type="pres">
      <dgm:prSet presAssocID="{FC2A0FFA-CF8A-4045-B79C-7FEFF57B8F73}" presName="d2" presStyleLbl="callout" presStyleIdx="3" presStyleCnt="10"/>
      <dgm:spPr/>
    </dgm:pt>
    <dgm:pt modelId="{882935D1-3531-4C66-8AF2-61A333B04468}" type="pres">
      <dgm:prSet presAssocID="{8E87B075-98F8-4855-A199-0F2723DB6F4E}" presName="circle3" presStyleLbl="lnNode1" presStyleIdx="2" presStyleCnt="5"/>
      <dgm:spPr/>
    </dgm:pt>
    <dgm:pt modelId="{599021AA-CFE1-47CA-8E83-66321CABC21D}" type="pres">
      <dgm:prSet presAssocID="{8E87B075-98F8-4855-A199-0F2723DB6F4E}" presName="text3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49179A0-3AFD-4B58-9D7A-B472D2FDB571}" type="pres">
      <dgm:prSet presAssocID="{8E87B075-98F8-4855-A199-0F2723DB6F4E}" presName="line3" presStyleLbl="callout" presStyleIdx="4" presStyleCnt="10"/>
      <dgm:spPr/>
    </dgm:pt>
    <dgm:pt modelId="{FC0026F6-E197-47AB-B273-2DBCC142B02E}" type="pres">
      <dgm:prSet presAssocID="{8E87B075-98F8-4855-A199-0F2723DB6F4E}" presName="d3" presStyleLbl="callout" presStyleIdx="5" presStyleCnt="10"/>
      <dgm:spPr/>
    </dgm:pt>
    <dgm:pt modelId="{F6D8C528-23E5-428D-998D-6FA95DD3EAF3}" type="pres">
      <dgm:prSet presAssocID="{4C10A35B-EE73-4D1A-B357-D39DC4747D3B}" presName="circle4" presStyleLbl="lnNode1" presStyleIdx="3" presStyleCnt="5"/>
      <dgm:spPr/>
    </dgm:pt>
    <dgm:pt modelId="{7B19E444-4D17-410E-B716-E6079AF32307}" type="pres">
      <dgm:prSet presAssocID="{4C10A35B-EE73-4D1A-B357-D39DC4747D3B}" presName="text4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88B520E-321D-43C0-96E4-F53CE8476E42}" type="pres">
      <dgm:prSet presAssocID="{4C10A35B-EE73-4D1A-B357-D39DC4747D3B}" presName="line4" presStyleLbl="callout" presStyleIdx="6" presStyleCnt="10"/>
      <dgm:spPr/>
    </dgm:pt>
    <dgm:pt modelId="{C1B633D2-62A5-46D6-BEF5-B8F291BA8291}" type="pres">
      <dgm:prSet presAssocID="{4C10A35B-EE73-4D1A-B357-D39DC4747D3B}" presName="d4" presStyleLbl="callout" presStyleIdx="7" presStyleCnt="10"/>
      <dgm:spPr/>
    </dgm:pt>
    <dgm:pt modelId="{05579D3F-50A9-40E8-825D-04F9E7798421}" type="pres">
      <dgm:prSet presAssocID="{21241C19-C6A3-47DD-86E0-A79D5CD1829F}" presName="circle5" presStyleLbl="lnNode1" presStyleIdx="4" presStyleCnt="5"/>
      <dgm:spPr/>
    </dgm:pt>
    <dgm:pt modelId="{3AE769C1-BD79-4883-8685-0F82F9D05BF3}" type="pres">
      <dgm:prSet presAssocID="{21241C19-C6A3-47DD-86E0-A79D5CD1829F}" presName="text5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CF989F5-6B50-4F88-A0D4-FBEF2B0B683B}" type="pres">
      <dgm:prSet presAssocID="{21241C19-C6A3-47DD-86E0-A79D5CD1829F}" presName="line5" presStyleLbl="callout" presStyleIdx="8" presStyleCnt="10"/>
      <dgm:spPr/>
    </dgm:pt>
    <dgm:pt modelId="{54518D54-9F0D-454B-97DF-F030D051B4F9}" type="pres">
      <dgm:prSet presAssocID="{21241C19-C6A3-47DD-86E0-A79D5CD1829F}" presName="d5" presStyleLbl="callout" presStyleIdx="9" presStyleCnt="10"/>
      <dgm:spPr/>
    </dgm:pt>
  </dgm:ptLst>
  <dgm:cxnLst>
    <dgm:cxn modelId="{041EC867-BFCF-455D-966D-87BD6C0D50B0}" srcId="{72A768A6-71AD-48BD-BBEE-9C7442F80471}" destId="{FC2A0FFA-CF8A-4045-B79C-7FEFF57B8F73}" srcOrd="1" destOrd="0" parTransId="{00444B7D-4020-4200-AFA7-90382E9E19FB}" sibTransId="{1D9A4967-A2A1-43B8-AB43-9E487A276B7D}"/>
    <dgm:cxn modelId="{F7DC61B5-3A94-4BF6-9515-DCF2E9BF74C5}" type="presOf" srcId="{72A768A6-71AD-48BD-BBEE-9C7442F80471}" destId="{3F528755-D440-470D-A70C-8C08F921AD30}" srcOrd="0" destOrd="0" presId="urn:microsoft.com/office/officeart/2005/8/layout/target1"/>
    <dgm:cxn modelId="{EC79B8A4-7A32-4404-8618-79FFBC63341F}" type="presOf" srcId="{06C2FD6D-F43A-4ED6-A9F5-09F1F9772165}" destId="{04FC0587-71D3-4824-AEC2-30942CCF1898}" srcOrd="0" destOrd="0" presId="urn:microsoft.com/office/officeart/2005/8/layout/target1"/>
    <dgm:cxn modelId="{04EA009D-DB2D-4C7C-9560-A2C501455274}" srcId="{72A768A6-71AD-48BD-BBEE-9C7442F80471}" destId="{06C2FD6D-F43A-4ED6-A9F5-09F1F9772165}" srcOrd="0" destOrd="0" parTransId="{23944C7A-B5DE-45C1-918C-80277D4A4FB6}" sibTransId="{DC45D4DE-E6CF-438B-8AA2-BBC338E6A1A7}"/>
    <dgm:cxn modelId="{54D0D36F-3278-43FC-B4C5-63EB9D104665}" type="presOf" srcId="{FC2A0FFA-CF8A-4045-B79C-7FEFF57B8F73}" destId="{6C393426-5ACF-461E-9481-8FD1B9CAB812}" srcOrd="0" destOrd="0" presId="urn:microsoft.com/office/officeart/2005/8/layout/target1"/>
    <dgm:cxn modelId="{9CD8B53B-3BB1-4DF8-93C3-C01E87254251}" srcId="{72A768A6-71AD-48BD-BBEE-9C7442F80471}" destId="{8E87B075-98F8-4855-A199-0F2723DB6F4E}" srcOrd="2" destOrd="0" parTransId="{133BB3A6-09BD-467E-97DD-09CC3C6B6642}" sibTransId="{AF6682B6-C126-4F52-B62D-FA21A0849D30}"/>
    <dgm:cxn modelId="{8EC65F22-2786-434B-AFC5-F59271512604}" srcId="{72A768A6-71AD-48BD-BBEE-9C7442F80471}" destId="{4C10A35B-EE73-4D1A-B357-D39DC4747D3B}" srcOrd="3" destOrd="0" parTransId="{8B35F593-E821-41A7-AC31-FCBD4FA5DF74}" sibTransId="{4ADD4E11-2E5C-4E44-88C3-E0E9EF055921}"/>
    <dgm:cxn modelId="{B50465B1-9B1B-4726-BA1D-0E30A1FD9721}" srcId="{72A768A6-71AD-48BD-BBEE-9C7442F80471}" destId="{21241C19-C6A3-47DD-86E0-A79D5CD1829F}" srcOrd="4" destOrd="0" parTransId="{61A31EBC-0EDE-47DF-A905-7FDF31FAEFE8}" sibTransId="{DCF2502E-119A-4368-8CBD-9C3FA58ACF89}"/>
    <dgm:cxn modelId="{BD52F790-8D54-4E4E-B32F-F76238F2FABB}" type="presOf" srcId="{21241C19-C6A3-47DD-86E0-A79D5CD1829F}" destId="{3AE769C1-BD79-4883-8685-0F82F9D05BF3}" srcOrd="0" destOrd="0" presId="urn:microsoft.com/office/officeart/2005/8/layout/target1"/>
    <dgm:cxn modelId="{527DC84D-9E17-497E-9123-2E8DFCB913E2}" type="presOf" srcId="{4C10A35B-EE73-4D1A-B357-D39DC4747D3B}" destId="{7B19E444-4D17-410E-B716-E6079AF32307}" srcOrd="0" destOrd="0" presId="urn:microsoft.com/office/officeart/2005/8/layout/target1"/>
    <dgm:cxn modelId="{EC60C1B3-64DE-4F96-8AE3-40C907A34FAE}" type="presOf" srcId="{8E87B075-98F8-4855-A199-0F2723DB6F4E}" destId="{599021AA-CFE1-47CA-8E83-66321CABC21D}" srcOrd="0" destOrd="0" presId="urn:microsoft.com/office/officeart/2005/8/layout/target1"/>
    <dgm:cxn modelId="{F44F226C-4EAE-4EC0-8960-3F156FE7A8E7}" type="presParOf" srcId="{3F528755-D440-470D-A70C-8C08F921AD30}" destId="{752C7D75-F4B4-4A2B-A792-0F99DA7EB9C1}" srcOrd="0" destOrd="0" presId="urn:microsoft.com/office/officeart/2005/8/layout/target1"/>
    <dgm:cxn modelId="{0E197EFC-2B90-4DFE-A084-7DADBD9B0899}" type="presParOf" srcId="{3F528755-D440-470D-A70C-8C08F921AD30}" destId="{04FC0587-71D3-4824-AEC2-30942CCF1898}" srcOrd="1" destOrd="0" presId="urn:microsoft.com/office/officeart/2005/8/layout/target1"/>
    <dgm:cxn modelId="{EB3B2303-5AE1-454C-B9AC-08A320987141}" type="presParOf" srcId="{3F528755-D440-470D-A70C-8C08F921AD30}" destId="{A1EB0437-EF2E-4588-9841-AB808B3F8758}" srcOrd="2" destOrd="0" presId="urn:microsoft.com/office/officeart/2005/8/layout/target1"/>
    <dgm:cxn modelId="{391FABE5-8BC9-4193-B747-3A54DA4CD485}" type="presParOf" srcId="{3F528755-D440-470D-A70C-8C08F921AD30}" destId="{E00AAFF1-981B-491C-AA7F-7DFCB8F4B662}" srcOrd="3" destOrd="0" presId="urn:microsoft.com/office/officeart/2005/8/layout/target1"/>
    <dgm:cxn modelId="{41D2731F-DE25-4586-97FB-A5A6F43D63AC}" type="presParOf" srcId="{3F528755-D440-470D-A70C-8C08F921AD30}" destId="{F3AB410B-21F0-4D4B-921D-250ABD5FCBCA}" srcOrd="4" destOrd="0" presId="urn:microsoft.com/office/officeart/2005/8/layout/target1"/>
    <dgm:cxn modelId="{E6978ABD-8B5A-4E31-BB40-604C7B91CD5D}" type="presParOf" srcId="{3F528755-D440-470D-A70C-8C08F921AD30}" destId="{6C393426-5ACF-461E-9481-8FD1B9CAB812}" srcOrd="5" destOrd="0" presId="urn:microsoft.com/office/officeart/2005/8/layout/target1"/>
    <dgm:cxn modelId="{5F1D4B50-3728-4E0E-904A-5B840BC8F2DB}" type="presParOf" srcId="{3F528755-D440-470D-A70C-8C08F921AD30}" destId="{DAC3F27D-40FE-4490-9FEB-1AA2D81ABE14}" srcOrd="6" destOrd="0" presId="urn:microsoft.com/office/officeart/2005/8/layout/target1"/>
    <dgm:cxn modelId="{FEE1BE15-A915-436B-AEB7-0BF1CC7347B5}" type="presParOf" srcId="{3F528755-D440-470D-A70C-8C08F921AD30}" destId="{E5430629-A8C5-4064-821A-57410F41D9B1}" srcOrd="7" destOrd="0" presId="urn:microsoft.com/office/officeart/2005/8/layout/target1"/>
    <dgm:cxn modelId="{536F39ED-7177-435C-83F5-F2FD171EDFFF}" type="presParOf" srcId="{3F528755-D440-470D-A70C-8C08F921AD30}" destId="{882935D1-3531-4C66-8AF2-61A333B04468}" srcOrd="8" destOrd="0" presId="urn:microsoft.com/office/officeart/2005/8/layout/target1"/>
    <dgm:cxn modelId="{44159DC2-F819-48DF-B35A-C809D51FD5AC}" type="presParOf" srcId="{3F528755-D440-470D-A70C-8C08F921AD30}" destId="{599021AA-CFE1-47CA-8E83-66321CABC21D}" srcOrd="9" destOrd="0" presId="urn:microsoft.com/office/officeart/2005/8/layout/target1"/>
    <dgm:cxn modelId="{7371462B-3AC4-406F-BEE0-1FFD07FFE039}" type="presParOf" srcId="{3F528755-D440-470D-A70C-8C08F921AD30}" destId="{F49179A0-3AFD-4B58-9D7A-B472D2FDB571}" srcOrd="10" destOrd="0" presId="urn:microsoft.com/office/officeart/2005/8/layout/target1"/>
    <dgm:cxn modelId="{530EA83D-6716-4D0B-B56C-34646B19D51F}" type="presParOf" srcId="{3F528755-D440-470D-A70C-8C08F921AD30}" destId="{FC0026F6-E197-47AB-B273-2DBCC142B02E}" srcOrd="11" destOrd="0" presId="urn:microsoft.com/office/officeart/2005/8/layout/target1"/>
    <dgm:cxn modelId="{2E956CD5-2548-4935-B773-05197D2A1A38}" type="presParOf" srcId="{3F528755-D440-470D-A70C-8C08F921AD30}" destId="{F6D8C528-23E5-428D-998D-6FA95DD3EAF3}" srcOrd="12" destOrd="0" presId="urn:microsoft.com/office/officeart/2005/8/layout/target1"/>
    <dgm:cxn modelId="{3C0C8948-A515-47CF-815F-4AFD56C37496}" type="presParOf" srcId="{3F528755-D440-470D-A70C-8C08F921AD30}" destId="{7B19E444-4D17-410E-B716-E6079AF32307}" srcOrd="13" destOrd="0" presId="urn:microsoft.com/office/officeart/2005/8/layout/target1"/>
    <dgm:cxn modelId="{B5544756-CF1F-4F13-AF3B-F6992D9CCA54}" type="presParOf" srcId="{3F528755-D440-470D-A70C-8C08F921AD30}" destId="{E88B520E-321D-43C0-96E4-F53CE8476E42}" srcOrd="14" destOrd="0" presId="urn:microsoft.com/office/officeart/2005/8/layout/target1"/>
    <dgm:cxn modelId="{60D7D175-825D-46E4-B1FC-3A00C5537F71}" type="presParOf" srcId="{3F528755-D440-470D-A70C-8C08F921AD30}" destId="{C1B633D2-62A5-46D6-BEF5-B8F291BA8291}" srcOrd="15" destOrd="0" presId="urn:microsoft.com/office/officeart/2005/8/layout/target1"/>
    <dgm:cxn modelId="{6791128D-7217-48FC-A266-1F24A80472E0}" type="presParOf" srcId="{3F528755-D440-470D-A70C-8C08F921AD30}" destId="{05579D3F-50A9-40E8-825D-04F9E7798421}" srcOrd="16" destOrd="0" presId="urn:microsoft.com/office/officeart/2005/8/layout/target1"/>
    <dgm:cxn modelId="{7546E28C-B282-4687-BA48-0113B5FFAC3F}" type="presParOf" srcId="{3F528755-D440-470D-A70C-8C08F921AD30}" destId="{3AE769C1-BD79-4883-8685-0F82F9D05BF3}" srcOrd="17" destOrd="0" presId="urn:microsoft.com/office/officeart/2005/8/layout/target1"/>
    <dgm:cxn modelId="{D89ACCF3-DF09-4A3E-B9D8-B3D8235C8514}" type="presParOf" srcId="{3F528755-D440-470D-A70C-8C08F921AD30}" destId="{CCF989F5-6B50-4F88-A0D4-FBEF2B0B683B}" srcOrd="18" destOrd="0" presId="urn:microsoft.com/office/officeart/2005/8/layout/target1"/>
    <dgm:cxn modelId="{0CD43D6E-AF7C-4D26-BB0C-A1A696BC3ACE}" type="presParOf" srcId="{3F528755-D440-470D-A70C-8C08F921AD30}" destId="{54518D54-9F0D-454B-97DF-F030D051B4F9}" srcOrd="19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426C4A32-26E5-4629-9D88-1162318419E4}" type="doc">
      <dgm:prSet loTypeId="urn:diagrams.loki3.com/BracketList+Icon" loCatId="list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64469A7-2962-4514-AE1B-48CAD74B89F5}">
      <dgm:prSet phldrT="[Texto]"/>
      <dgm:spPr/>
      <dgm:t>
        <a:bodyPr/>
        <a:lstStyle/>
        <a:p>
          <a:pPr algn="ctr"/>
          <a:r>
            <a:rPr lang="es-CO" b="1" dirty="0" smtClean="0"/>
            <a:t>ÁMBITO DE CALIDAD</a:t>
          </a:r>
          <a:endParaRPr lang="es-CO" b="1" dirty="0"/>
        </a:p>
      </dgm:t>
    </dgm:pt>
    <dgm:pt modelId="{0F211821-030A-4EBD-B54E-3554C274DEE9}" type="parTrans" cxnId="{B6CE68F1-354D-48AA-A353-4D7206C14F10}">
      <dgm:prSet/>
      <dgm:spPr/>
      <dgm:t>
        <a:bodyPr/>
        <a:lstStyle/>
        <a:p>
          <a:endParaRPr lang="es-CO"/>
        </a:p>
      </dgm:t>
    </dgm:pt>
    <dgm:pt modelId="{7241934F-60BE-4D04-8C7C-C96DD0962BBB}" type="sibTrans" cxnId="{B6CE68F1-354D-48AA-A353-4D7206C14F10}">
      <dgm:prSet/>
      <dgm:spPr/>
      <dgm:t>
        <a:bodyPr/>
        <a:lstStyle/>
        <a:p>
          <a:endParaRPr lang="es-CO"/>
        </a:p>
      </dgm:t>
    </dgm:pt>
    <dgm:pt modelId="{35DA1D30-9EC9-4EBE-9C91-9A643D32F9F5}">
      <dgm:prSet phldrT="[Texto]"/>
      <dgm:spPr/>
      <dgm:t>
        <a:bodyPr/>
        <a:lstStyle/>
        <a:p>
          <a:r>
            <a:rPr lang="es-CO" dirty="0" smtClean="0"/>
            <a:t>Formalizar la adopción del modelo de aseguramiento de la calidad</a:t>
          </a:r>
          <a:endParaRPr lang="es-CO" dirty="0"/>
        </a:p>
      </dgm:t>
    </dgm:pt>
    <dgm:pt modelId="{549E60F3-BDB3-4FC6-A633-90881DA1F755}" type="parTrans" cxnId="{379FA818-B5AE-4FB7-BEAB-8D5D84F6B6B4}">
      <dgm:prSet/>
      <dgm:spPr/>
      <dgm:t>
        <a:bodyPr/>
        <a:lstStyle/>
        <a:p>
          <a:endParaRPr lang="es-CO"/>
        </a:p>
      </dgm:t>
    </dgm:pt>
    <dgm:pt modelId="{B99AD4D2-DC8D-441A-8483-3605EF280F8B}" type="sibTrans" cxnId="{379FA818-B5AE-4FB7-BEAB-8D5D84F6B6B4}">
      <dgm:prSet/>
      <dgm:spPr/>
      <dgm:t>
        <a:bodyPr/>
        <a:lstStyle/>
        <a:p>
          <a:endParaRPr lang="es-CO"/>
        </a:p>
      </dgm:t>
    </dgm:pt>
    <dgm:pt modelId="{51987483-877F-4768-8A56-8A26B0A33A8B}">
      <dgm:prSet phldrT="[Texto]"/>
      <dgm:spPr/>
      <dgm:t>
        <a:bodyPr/>
        <a:lstStyle/>
        <a:p>
          <a:pPr algn="ctr"/>
          <a:r>
            <a:rPr lang="es-CO" b="1" dirty="0" smtClean="0"/>
            <a:t>REDES</a:t>
          </a:r>
          <a:endParaRPr lang="es-CO" b="1" dirty="0"/>
        </a:p>
      </dgm:t>
    </dgm:pt>
    <dgm:pt modelId="{C0C38A25-F317-48A5-9213-A82F9BC63CD6}" type="parTrans" cxnId="{7EFE9324-5B8F-4A6F-BF04-08BD24C72182}">
      <dgm:prSet/>
      <dgm:spPr/>
      <dgm:t>
        <a:bodyPr/>
        <a:lstStyle/>
        <a:p>
          <a:endParaRPr lang="es-CO"/>
        </a:p>
      </dgm:t>
    </dgm:pt>
    <dgm:pt modelId="{D029B079-DB6B-4379-B273-7C146FE0EEA6}" type="sibTrans" cxnId="{7EFE9324-5B8F-4A6F-BF04-08BD24C72182}">
      <dgm:prSet/>
      <dgm:spPr/>
      <dgm:t>
        <a:bodyPr/>
        <a:lstStyle/>
        <a:p>
          <a:endParaRPr lang="es-CO"/>
        </a:p>
      </dgm:t>
    </dgm:pt>
    <dgm:pt modelId="{9020ABD2-8684-4F92-A44E-D8BE295BEAEA}">
      <dgm:prSet phldrT="[Texto]"/>
      <dgm:spPr/>
      <dgm:t>
        <a:bodyPr/>
        <a:lstStyle/>
        <a:p>
          <a:r>
            <a:rPr lang="es-CO" dirty="0" smtClean="0"/>
            <a:t>Fortalecer  las existentes y propender por nuevas desde la mirada global e internacional</a:t>
          </a:r>
          <a:endParaRPr lang="es-CO" dirty="0"/>
        </a:p>
      </dgm:t>
    </dgm:pt>
    <dgm:pt modelId="{E231F7FC-3965-40DA-9129-486763F527B7}" type="parTrans" cxnId="{C155F778-5E34-40BA-BD44-29F2AE958725}">
      <dgm:prSet/>
      <dgm:spPr/>
      <dgm:t>
        <a:bodyPr/>
        <a:lstStyle/>
        <a:p>
          <a:endParaRPr lang="es-CO"/>
        </a:p>
      </dgm:t>
    </dgm:pt>
    <dgm:pt modelId="{05C0A864-B1E8-4E23-AD3F-4E9FA62A70F8}" type="sibTrans" cxnId="{C155F778-5E34-40BA-BD44-29F2AE958725}">
      <dgm:prSet/>
      <dgm:spPr/>
      <dgm:t>
        <a:bodyPr/>
        <a:lstStyle/>
        <a:p>
          <a:endParaRPr lang="es-CO"/>
        </a:p>
      </dgm:t>
    </dgm:pt>
    <dgm:pt modelId="{5046C097-F008-4900-AF43-B9FC689E4D3A}">
      <dgm:prSet phldrT="[Texto]"/>
      <dgm:spPr/>
      <dgm:t>
        <a:bodyPr/>
        <a:lstStyle/>
        <a:p>
          <a:r>
            <a:rPr lang="es-CO" dirty="0" smtClean="0"/>
            <a:t>Actualizar el marco regulatorio de la FPT</a:t>
          </a:r>
          <a:endParaRPr lang="es-CO" dirty="0"/>
        </a:p>
      </dgm:t>
    </dgm:pt>
    <dgm:pt modelId="{A1559C33-1F41-4235-BD4A-17B4A6630E40}" type="parTrans" cxnId="{1FC4EEAB-CE54-40B6-B5A7-195562FD4C33}">
      <dgm:prSet/>
      <dgm:spPr/>
      <dgm:t>
        <a:bodyPr/>
        <a:lstStyle/>
        <a:p>
          <a:endParaRPr lang="es-CO"/>
        </a:p>
      </dgm:t>
    </dgm:pt>
    <dgm:pt modelId="{550B6952-6583-4CD1-8280-353350B4CE74}" type="sibTrans" cxnId="{1FC4EEAB-CE54-40B6-B5A7-195562FD4C33}">
      <dgm:prSet/>
      <dgm:spPr/>
      <dgm:t>
        <a:bodyPr/>
        <a:lstStyle/>
        <a:p>
          <a:endParaRPr lang="es-CO"/>
        </a:p>
      </dgm:t>
    </dgm:pt>
    <dgm:pt modelId="{1F9DD779-B3BD-4AA0-AB13-C38650497F17}">
      <dgm:prSet phldrT="[Texto]"/>
      <dgm:spPr/>
      <dgm:t>
        <a:bodyPr/>
        <a:lstStyle/>
        <a:p>
          <a:pPr algn="ctr"/>
          <a:r>
            <a:rPr lang="es-CO" b="1" dirty="0" smtClean="0"/>
            <a:t>CAPITAL HUMANO</a:t>
          </a:r>
          <a:endParaRPr lang="es-CO" b="1" dirty="0"/>
        </a:p>
      </dgm:t>
    </dgm:pt>
    <dgm:pt modelId="{DFA3DED5-4C55-44FA-81F7-4696CEA92428}" type="parTrans" cxnId="{0B8A280E-DA91-46CC-B22E-2E2E65536E72}">
      <dgm:prSet/>
      <dgm:spPr/>
      <dgm:t>
        <a:bodyPr/>
        <a:lstStyle/>
        <a:p>
          <a:endParaRPr lang="es-CO"/>
        </a:p>
      </dgm:t>
    </dgm:pt>
    <dgm:pt modelId="{7A8DC637-E2FC-4171-AF82-97293C88AB29}" type="sibTrans" cxnId="{0B8A280E-DA91-46CC-B22E-2E2E65536E72}">
      <dgm:prSet/>
      <dgm:spPr/>
      <dgm:t>
        <a:bodyPr/>
        <a:lstStyle/>
        <a:p>
          <a:endParaRPr lang="es-CO"/>
        </a:p>
      </dgm:t>
    </dgm:pt>
    <dgm:pt modelId="{42E7FC2D-2B7E-43CA-A15D-5F66FCAB0376}">
      <dgm:prSet phldrT="[Texto]"/>
      <dgm:spPr/>
      <dgm:t>
        <a:bodyPr/>
        <a:lstStyle/>
        <a:p>
          <a:r>
            <a:rPr lang="es-CO" dirty="0" smtClean="0"/>
            <a:t>Formar parte </a:t>
          </a:r>
          <a:r>
            <a:rPr lang="es-CO" smtClean="0"/>
            <a:t>integralal</a:t>
          </a:r>
          <a:r>
            <a:rPr lang="es-CO" dirty="0" smtClean="0"/>
            <a:t> del Marco Nacional de Cualificaciones</a:t>
          </a:r>
          <a:endParaRPr lang="es-CO" dirty="0"/>
        </a:p>
      </dgm:t>
    </dgm:pt>
    <dgm:pt modelId="{6FF8BA45-6649-4B68-8C29-48F3C40B2F52}" type="parTrans" cxnId="{371C32F8-16A1-4B62-8EFC-F00A7EC5208E}">
      <dgm:prSet/>
      <dgm:spPr/>
      <dgm:t>
        <a:bodyPr/>
        <a:lstStyle/>
        <a:p>
          <a:endParaRPr lang="es-CO"/>
        </a:p>
      </dgm:t>
    </dgm:pt>
    <dgm:pt modelId="{48EC2E3B-324A-48F1-A2EA-DEBB63BB0A6C}" type="sibTrans" cxnId="{371C32F8-16A1-4B62-8EFC-F00A7EC5208E}">
      <dgm:prSet/>
      <dgm:spPr/>
      <dgm:t>
        <a:bodyPr/>
        <a:lstStyle/>
        <a:p>
          <a:endParaRPr lang="es-CO"/>
        </a:p>
      </dgm:t>
    </dgm:pt>
    <dgm:pt modelId="{0ADB959F-9F28-45C2-A672-7ED00D86DF70}">
      <dgm:prSet phldrT="[Texto]"/>
      <dgm:spPr/>
      <dgm:t>
        <a:bodyPr/>
        <a:lstStyle/>
        <a:p>
          <a:pPr algn="ctr"/>
          <a:r>
            <a:rPr lang="es-CO" b="1" dirty="0" smtClean="0"/>
            <a:t>ARTICULACIÓN</a:t>
          </a:r>
          <a:endParaRPr lang="es-CO" b="1" dirty="0"/>
        </a:p>
      </dgm:t>
    </dgm:pt>
    <dgm:pt modelId="{69B77398-2D68-4F89-AAFA-19A23C157FB3}" type="parTrans" cxnId="{9C1D5E67-4076-4E69-88C3-BBF88CD13624}">
      <dgm:prSet/>
      <dgm:spPr/>
      <dgm:t>
        <a:bodyPr/>
        <a:lstStyle/>
        <a:p>
          <a:endParaRPr lang="es-CO"/>
        </a:p>
      </dgm:t>
    </dgm:pt>
    <dgm:pt modelId="{EF4B8186-E0E6-458C-9D3B-267C11033752}" type="sibTrans" cxnId="{9C1D5E67-4076-4E69-88C3-BBF88CD13624}">
      <dgm:prSet/>
      <dgm:spPr/>
      <dgm:t>
        <a:bodyPr/>
        <a:lstStyle/>
        <a:p>
          <a:endParaRPr lang="es-CO"/>
        </a:p>
      </dgm:t>
    </dgm:pt>
    <dgm:pt modelId="{E18FA679-C340-414F-97A8-2AD9DDC996F2}">
      <dgm:prSet phldrT="[Texto]"/>
      <dgm:spPr/>
      <dgm:t>
        <a:bodyPr/>
        <a:lstStyle/>
        <a:p>
          <a:r>
            <a:rPr lang="es-CO" dirty="0" smtClean="0"/>
            <a:t>Aportar elementos significativos en el proceso de integración de los modelos de aseguramiento de la calidad del Sistema Educativo Colombiano</a:t>
          </a:r>
          <a:endParaRPr lang="es-CO" dirty="0"/>
        </a:p>
      </dgm:t>
    </dgm:pt>
    <dgm:pt modelId="{9230D270-C12A-4C34-8D22-110CF305C97D}" type="parTrans" cxnId="{4CF03190-3D7D-4669-9126-24291670C2D3}">
      <dgm:prSet/>
      <dgm:spPr/>
      <dgm:t>
        <a:bodyPr/>
        <a:lstStyle/>
        <a:p>
          <a:endParaRPr lang="es-CO"/>
        </a:p>
      </dgm:t>
    </dgm:pt>
    <dgm:pt modelId="{819F8B20-0869-4239-8A25-7C7CA54A99C6}" type="sibTrans" cxnId="{4CF03190-3D7D-4669-9126-24291670C2D3}">
      <dgm:prSet/>
      <dgm:spPr/>
      <dgm:t>
        <a:bodyPr/>
        <a:lstStyle/>
        <a:p>
          <a:endParaRPr lang="es-CO"/>
        </a:p>
      </dgm:t>
    </dgm:pt>
    <dgm:pt modelId="{F26F653A-2F6C-4C01-A746-062C41ACA13F}">
      <dgm:prSet phldrT="[Texto]"/>
      <dgm:spPr/>
      <dgm:t>
        <a:bodyPr/>
        <a:lstStyle/>
        <a:p>
          <a:r>
            <a:rPr lang="es-CO" dirty="0" smtClean="0"/>
            <a:t>Convertirse en pasarela para la movilidad de los jóvenes en la </a:t>
          </a:r>
          <a:r>
            <a:rPr lang="es-CO" dirty="0" err="1" smtClean="0"/>
            <a:t>posmedia</a:t>
          </a:r>
          <a:endParaRPr lang="es-CO" dirty="0"/>
        </a:p>
      </dgm:t>
    </dgm:pt>
    <dgm:pt modelId="{46FDEB9C-4642-4670-AA83-783B1AE4FAB5}" type="parTrans" cxnId="{9DB73A53-5C0B-45C8-BE2B-AC05EE539C4A}">
      <dgm:prSet/>
      <dgm:spPr/>
      <dgm:t>
        <a:bodyPr/>
        <a:lstStyle/>
        <a:p>
          <a:endParaRPr lang="es-CO"/>
        </a:p>
      </dgm:t>
    </dgm:pt>
    <dgm:pt modelId="{8517619D-C038-42BF-8A7B-3B7B4355EB57}" type="sibTrans" cxnId="{9DB73A53-5C0B-45C8-BE2B-AC05EE539C4A}">
      <dgm:prSet/>
      <dgm:spPr/>
      <dgm:t>
        <a:bodyPr/>
        <a:lstStyle/>
        <a:p>
          <a:endParaRPr lang="es-CO"/>
        </a:p>
      </dgm:t>
    </dgm:pt>
    <dgm:pt modelId="{9BD2554F-E719-4BBB-8956-941644198E36}">
      <dgm:prSet phldrT="[Texto]"/>
      <dgm:spPr/>
      <dgm:t>
        <a:bodyPr/>
        <a:lstStyle/>
        <a:p>
          <a:r>
            <a:rPr lang="es-CO" dirty="0" smtClean="0"/>
            <a:t>Fortalecer la transición de la educación media hacia la terciaria, siendo la FPT, parte de esta última</a:t>
          </a:r>
          <a:endParaRPr lang="es-CO" dirty="0"/>
        </a:p>
      </dgm:t>
    </dgm:pt>
    <dgm:pt modelId="{F3575788-9F7A-42AF-91DE-36E3B58B0AF4}" type="parTrans" cxnId="{F468AE51-3B31-4FE6-B4A7-07BD1A089AF0}">
      <dgm:prSet/>
      <dgm:spPr/>
      <dgm:t>
        <a:bodyPr/>
        <a:lstStyle/>
        <a:p>
          <a:endParaRPr lang="es-CO"/>
        </a:p>
      </dgm:t>
    </dgm:pt>
    <dgm:pt modelId="{B6226E3A-9288-4157-9747-27E1F8AE193F}" type="sibTrans" cxnId="{F468AE51-3B31-4FE6-B4A7-07BD1A089AF0}">
      <dgm:prSet/>
      <dgm:spPr/>
      <dgm:t>
        <a:bodyPr/>
        <a:lstStyle/>
        <a:p>
          <a:endParaRPr lang="es-CO"/>
        </a:p>
      </dgm:t>
    </dgm:pt>
    <dgm:pt modelId="{1FF0C413-DD02-411B-A828-8F012F82E807}" type="pres">
      <dgm:prSet presAssocID="{426C4A32-26E5-4629-9D88-1162318419E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A1F70722-2FEC-43E3-9A23-B1F4E642EE64}" type="pres">
      <dgm:prSet presAssocID="{064469A7-2962-4514-AE1B-48CAD74B89F5}" presName="linNode" presStyleCnt="0"/>
      <dgm:spPr/>
      <dgm:t>
        <a:bodyPr/>
        <a:lstStyle/>
        <a:p>
          <a:endParaRPr lang="es-CO"/>
        </a:p>
      </dgm:t>
    </dgm:pt>
    <dgm:pt modelId="{AC37217A-60E8-4486-91D3-00ABFF0C9208}" type="pres">
      <dgm:prSet presAssocID="{064469A7-2962-4514-AE1B-48CAD74B89F5}" presName="parTx" presStyleLbl="revTx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A249A0F-2B19-4081-B596-AFEEFB00AEC6}" type="pres">
      <dgm:prSet presAssocID="{064469A7-2962-4514-AE1B-48CAD74B89F5}" presName="bracket" presStyleLbl="parChTrans1D1" presStyleIdx="0" presStyleCnt="4"/>
      <dgm:spPr/>
      <dgm:t>
        <a:bodyPr/>
        <a:lstStyle/>
        <a:p>
          <a:endParaRPr lang="es-CO"/>
        </a:p>
      </dgm:t>
    </dgm:pt>
    <dgm:pt modelId="{43A07CAD-EEC5-498B-87A9-364C1ED77674}" type="pres">
      <dgm:prSet presAssocID="{064469A7-2962-4514-AE1B-48CAD74B89F5}" presName="spH" presStyleCnt="0"/>
      <dgm:spPr/>
      <dgm:t>
        <a:bodyPr/>
        <a:lstStyle/>
        <a:p>
          <a:endParaRPr lang="es-CO"/>
        </a:p>
      </dgm:t>
    </dgm:pt>
    <dgm:pt modelId="{63C88672-20D1-4CF1-8191-18C470C93209}" type="pres">
      <dgm:prSet presAssocID="{064469A7-2962-4514-AE1B-48CAD74B89F5}" presName="des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A7DAB9F-CA13-4E53-A2E8-97396852C397}" type="pres">
      <dgm:prSet presAssocID="{7241934F-60BE-4D04-8C7C-C96DD0962BBB}" presName="spV" presStyleCnt="0"/>
      <dgm:spPr/>
      <dgm:t>
        <a:bodyPr/>
        <a:lstStyle/>
        <a:p>
          <a:endParaRPr lang="es-CO"/>
        </a:p>
      </dgm:t>
    </dgm:pt>
    <dgm:pt modelId="{78A4640A-F2E8-4336-ADA0-249E00029259}" type="pres">
      <dgm:prSet presAssocID="{51987483-877F-4768-8A56-8A26B0A33A8B}" presName="linNode" presStyleCnt="0"/>
      <dgm:spPr/>
      <dgm:t>
        <a:bodyPr/>
        <a:lstStyle/>
        <a:p>
          <a:endParaRPr lang="es-CO"/>
        </a:p>
      </dgm:t>
    </dgm:pt>
    <dgm:pt modelId="{48BF8545-62FB-48D0-BF6C-B1E5382DA192}" type="pres">
      <dgm:prSet presAssocID="{51987483-877F-4768-8A56-8A26B0A33A8B}" presName="parTx" presStyleLbl="revTx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6011C12-C47D-48F7-AA89-AACEE724CC0F}" type="pres">
      <dgm:prSet presAssocID="{51987483-877F-4768-8A56-8A26B0A33A8B}" presName="bracket" presStyleLbl="parChTrans1D1" presStyleIdx="1" presStyleCnt="4"/>
      <dgm:spPr/>
      <dgm:t>
        <a:bodyPr/>
        <a:lstStyle/>
        <a:p>
          <a:endParaRPr lang="es-CO"/>
        </a:p>
      </dgm:t>
    </dgm:pt>
    <dgm:pt modelId="{47238512-0D02-4A31-94B1-6D5B163C7BF5}" type="pres">
      <dgm:prSet presAssocID="{51987483-877F-4768-8A56-8A26B0A33A8B}" presName="spH" presStyleCnt="0"/>
      <dgm:spPr/>
      <dgm:t>
        <a:bodyPr/>
        <a:lstStyle/>
        <a:p>
          <a:endParaRPr lang="es-CO"/>
        </a:p>
      </dgm:t>
    </dgm:pt>
    <dgm:pt modelId="{FFA7EAD1-296E-40CD-93AE-D6CD3F8417E2}" type="pres">
      <dgm:prSet presAssocID="{51987483-877F-4768-8A56-8A26B0A33A8B}" presName="des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62F12E4-C6E3-4480-998F-B17D9120587B}" type="pres">
      <dgm:prSet presAssocID="{D029B079-DB6B-4379-B273-7C146FE0EEA6}" presName="spV" presStyleCnt="0"/>
      <dgm:spPr/>
      <dgm:t>
        <a:bodyPr/>
        <a:lstStyle/>
        <a:p>
          <a:endParaRPr lang="es-CO"/>
        </a:p>
      </dgm:t>
    </dgm:pt>
    <dgm:pt modelId="{E640907A-ED0D-4B8F-A8E5-C5DA86E877F5}" type="pres">
      <dgm:prSet presAssocID="{1F9DD779-B3BD-4AA0-AB13-C38650497F17}" presName="linNode" presStyleCnt="0"/>
      <dgm:spPr/>
      <dgm:t>
        <a:bodyPr/>
        <a:lstStyle/>
        <a:p>
          <a:endParaRPr lang="es-CO"/>
        </a:p>
      </dgm:t>
    </dgm:pt>
    <dgm:pt modelId="{3A7A7695-5B13-450E-98E6-6395BDCAAF31}" type="pres">
      <dgm:prSet presAssocID="{1F9DD779-B3BD-4AA0-AB13-C38650497F17}" presName="parTx" presStyleLbl="revTx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F54AE2C-DE06-438F-A8AA-DDE061E301AA}" type="pres">
      <dgm:prSet presAssocID="{1F9DD779-B3BD-4AA0-AB13-C38650497F17}" presName="bracket" presStyleLbl="parChTrans1D1" presStyleIdx="2" presStyleCnt="4"/>
      <dgm:spPr/>
      <dgm:t>
        <a:bodyPr/>
        <a:lstStyle/>
        <a:p>
          <a:endParaRPr lang="es-CO"/>
        </a:p>
      </dgm:t>
    </dgm:pt>
    <dgm:pt modelId="{DF5E01D6-1158-4B96-B707-1E4299CF3401}" type="pres">
      <dgm:prSet presAssocID="{1F9DD779-B3BD-4AA0-AB13-C38650497F17}" presName="spH" presStyleCnt="0"/>
      <dgm:spPr/>
      <dgm:t>
        <a:bodyPr/>
        <a:lstStyle/>
        <a:p>
          <a:endParaRPr lang="es-CO"/>
        </a:p>
      </dgm:t>
    </dgm:pt>
    <dgm:pt modelId="{15E5D75E-3B36-4A58-8BE9-931EF235A6E1}" type="pres">
      <dgm:prSet presAssocID="{1F9DD779-B3BD-4AA0-AB13-C38650497F17}" presName="des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5794429-5C7D-4A87-90C2-776BC3E4D3FC}" type="pres">
      <dgm:prSet presAssocID="{7A8DC637-E2FC-4171-AF82-97293C88AB29}" presName="spV" presStyleCnt="0"/>
      <dgm:spPr/>
      <dgm:t>
        <a:bodyPr/>
        <a:lstStyle/>
        <a:p>
          <a:endParaRPr lang="es-CO"/>
        </a:p>
      </dgm:t>
    </dgm:pt>
    <dgm:pt modelId="{7AB7FEA2-7D00-4DA3-AC96-6A287E1D7443}" type="pres">
      <dgm:prSet presAssocID="{0ADB959F-9F28-45C2-A672-7ED00D86DF70}" presName="linNode" presStyleCnt="0"/>
      <dgm:spPr/>
      <dgm:t>
        <a:bodyPr/>
        <a:lstStyle/>
        <a:p>
          <a:endParaRPr lang="es-CO"/>
        </a:p>
      </dgm:t>
    </dgm:pt>
    <dgm:pt modelId="{3265399B-BC14-49E3-9B65-605C20A0A563}" type="pres">
      <dgm:prSet presAssocID="{0ADB959F-9F28-45C2-A672-7ED00D86DF70}" presName="parTx" presStyleLbl="revTx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B9FB7D-296D-44AE-9DD2-23A0D7AF4879}" type="pres">
      <dgm:prSet presAssocID="{0ADB959F-9F28-45C2-A672-7ED00D86DF70}" presName="bracket" presStyleLbl="parChTrans1D1" presStyleIdx="3" presStyleCnt="4"/>
      <dgm:spPr/>
      <dgm:t>
        <a:bodyPr/>
        <a:lstStyle/>
        <a:p>
          <a:endParaRPr lang="es-CO"/>
        </a:p>
      </dgm:t>
    </dgm:pt>
    <dgm:pt modelId="{30F11A40-B457-44DA-A6D4-797AB82B39DF}" type="pres">
      <dgm:prSet presAssocID="{0ADB959F-9F28-45C2-A672-7ED00D86DF70}" presName="spH" presStyleCnt="0"/>
      <dgm:spPr/>
      <dgm:t>
        <a:bodyPr/>
        <a:lstStyle/>
        <a:p>
          <a:endParaRPr lang="es-CO"/>
        </a:p>
      </dgm:t>
    </dgm:pt>
    <dgm:pt modelId="{8F9952F8-B1A9-4540-925B-0EC7C52AAA8E}" type="pres">
      <dgm:prSet presAssocID="{0ADB959F-9F28-45C2-A672-7ED00D86DF70}" presName="des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2351F71C-5848-4090-A44C-972DBB61A082}" type="presOf" srcId="{F26F653A-2F6C-4C01-A746-062C41ACA13F}" destId="{15E5D75E-3B36-4A58-8BE9-931EF235A6E1}" srcOrd="0" destOrd="1" presId="urn:diagrams.loki3.com/BracketList+Icon"/>
    <dgm:cxn modelId="{F468AE51-3B31-4FE6-B4A7-07BD1A089AF0}" srcId="{0ADB959F-9F28-45C2-A672-7ED00D86DF70}" destId="{9BD2554F-E719-4BBB-8956-941644198E36}" srcOrd="1" destOrd="0" parTransId="{F3575788-9F7A-42AF-91DE-36E3B58B0AF4}" sibTransId="{B6226E3A-9288-4157-9747-27E1F8AE193F}"/>
    <dgm:cxn modelId="{455C9EEB-0CDA-486C-A43B-FA7C73601DC3}" type="presOf" srcId="{1F9DD779-B3BD-4AA0-AB13-C38650497F17}" destId="{3A7A7695-5B13-450E-98E6-6395BDCAAF31}" srcOrd="0" destOrd="0" presId="urn:diagrams.loki3.com/BracketList+Icon"/>
    <dgm:cxn modelId="{7EFE9324-5B8F-4A6F-BF04-08BD24C72182}" srcId="{426C4A32-26E5-4629-9D88-1162318419E4}" destId="{51987483-877F-4768-8A56-8A26B0A33A8B}" srcOrd="1" destOrd="0" parTransId="{C0C38A25-F317-48A5-9213-A82F9BC63CD6}" sibTransId="{D029B079-DB6B-4379-B273-7C146FE0EEA6}"/>
    <dgm:cxn modelId="{4CF03190-3D7D-4669-9126-24291670C2D3}" srcId="{0ADB959F-9F28-45C2-A672-7ED00D86DF70}" destId="{E18FA679-C340-414F-97A8-2AD9DDC996F2}" srcOrd="0" destOrd="0" parTransId="{9230D270-C12A-4C34-8D22-110CF305C97D}" sibTransId="{819F8B20-0869-4239-8A25-7C7CA54A99C6}"/>
    <dgm:cxn modelId="{72F62215-F6A5-4CBF-97C6-AB435EEE406C}" type="presOf" srcId="{51987483-877F-4768-8A56-8A26B0A33A8B}" destId="{48BF8545-62FB-48D0-BF6C-B1E5382DA192}" srcOrd="0" destOrd="0" presId="urn:diagrams.loki3.com/BracketList+Icon"/>
    <dgm:cxn modelId="{99450665-B079-4910-BA3D-42B84116762F}" type="presOf" srcId="{E18FA679-C340-414F-97A8-2AD9DDC996F2}" destId="{8F9952F8-B1A9-4540-925B-0EC7C52AAA8E}" srcOrd="0" destOrd="0" presId="urn:diagrams.loki3.com/BracketList+Icon"/>
    <dgm:cxn modelId="{7D11B5D1-EA1D-49F2-AE5D-DE0F792609EB}" type="presOf" srcId="{42E7FC2D-2B7E-43CA-A15D-5F66FCAB0376}" destId="{15E5D75E-3B36-4A58-8BE9-931EF235A6E1}" srcOrd="0" destOrd="0" presId="urn:diagrams.loki3.com/BracketList+Icon"/>
    <dgm:cxn modelId="{325DF545-18BF-4717-B0E0-32EC41FFFD31}" type="presOf" srcId="{0ADB959F-9F28-45C2-A672-7ED00D86DF70}" destId="{3265399B-BC14-49E3-9B65-605C20A0A563}" srcOrd="0" destOrd="0" presId="urn:diagrams.loki3.com/BracketList+Icon"/>
    <dgm:cxn modelId="{C8831523-D323-45EC-9724-B094513F2EA5}" type="presOf" srcId="{9BD2554F-E719-4BBB-8956-941644198E36}" destId="{8F9952F8-B1A9-4540-925B-0EC7C52AAA8E}" srcOrd="0" destOrd="1" presId="urn:diagrams.loki3.com/BracketList+Icon"/>
    <dgm:cxn modelId="{C155F778-5E34-40BA-BD44-29F2AE958725}" srcId="{51987483-877F-4768-8A56-8A26B0A33A8B}" destId="{9020ABD2-8684-4F92-A44E-D8BE295BEAEA}" srcOrd="0" destOrd="0" parTransId="{E231F7FC-3965-40DA-9129-486763F527B7}" sibTransId="{05C0A864-B1E8-4E23-AD3F-4E9FA62A70F8}"/>
    <dgm:cxn modelId="{E5DCB395-D720-4AEE-8E11-CB298C91D81A}" type="presOf" srcId="{064469A7-2962-4514-AE1B-48CAD74B89F5}" destId="{AC37217A-60E8-4486-91D3-00ABFF0C9208}" srcOrd="0" destOrd="0" presId="urn:diagrams.loki3.com/BracketList+Icon"/>
    <dgm:cxn modelId="{371C32F8-16A1-4B62-8EFC-F00A7EC5208E}" srcId="{1F9DD779-B3BD-4AA0-AB13-C38650497F17}" destId="{42E7FC2D-2B7E-43CA-A15D-5F66FCAB0376}" srcOrd="0" destOrd="0" parTransId="{6FF8BA45-6649-4B68-8C29-48F3C40B2F52}" sibTransId="{48EC2E3B-324A-48F1-A2EA-DEBB63BB0A6C}"/>
    <dgm:cxn modelId="{9C1D5E67-4076-4E69-88C3-BBF88CD13624}" srcId="{426C4A32-26E5-4629-9D88-1162318419E4}" destId="{0ADB959F-9F28-45C2-A672-7ED00D86DF70}" srcOrd="3" destOrd="0" parTransId="{69B77398-2D68-4F89-AAFA-19A23C157FB3}" sibTransId="{EF4B8186-E0E6-458C-9D3B-267C11033752}"/>
    <dgm:cxn modelId="{0741C509-20F1-4016-A202-B219634A9042}" type="presOf" srcId="{9020ABD2-8684-4F92-A44E-D8BE295BEAEA}" destId="{FFA7EAD1-296E-40CD-93AE-D6CD3F8417E2}" srcOrd="0" destOrd="0" presId="urn:diagrams.loki3.com/BracketList+Icon"/>
    <dgm:cxn modelId="{1FC4EEAB-CE54-40B6-B5A7-195562FD4C33}" srcId="{064469A7-2962-4514-AE1B-48CAD74B89F5}" destId="{5046C097-F008-4900-AF43-B9FC689E4D3A}" srcOrd="1" destOrd="0" parTransId="{A1559C33-1F41-4235-BD4A-17B4A6630E40}" sibTransId="{550B6952-6583-4CD1-8280-353350B4CE74}"/>
    <dgm:cxn modelId="{6E00FD2D-D5F8-4066-B909-8EA0C277A1C1}" type="presOf" srcId="{5046C097-F008-4900-AF43-B9FC689E4D3A}" destId="{63C88672-20D1-4CF1-8191-18C470C93209}" srcOrd="0" destOrd="1" presId="urn:diagrams.loki3.com/BracketList+Icon"/>
    <dgm:cxn modelId="{1E7FF324-62EB-493D-B634-FC08B8787239}" type="presOf" srcId="{426C4A32-26E5-4629-9D88-1162318419E4}" destId="{1FF0C413-DD02-411B-A828-8F012F82E807}" srcOrd="0" destOrd="0" presId="urn:diagrams.loki3.com/BracketList+Icon"/>
    <dgm:cxn modelId="{52EB5E40-9184-41AA-9F31-BF0E18209D9C}" type="presOf" srcId="{35DA1D30-9EC9-4EBE-9C91-9A643D32F9F5}" destId="{63C88672-20D1-4CF1-8191-18C470C93209}" srcOrd="0" destOrd="0" presId="urn:diagrams.loki3.com/BracketList+Icon"/>
    <dgm:cxn modelId="{9DB73A53-5C0B-45C8-BE2B-AC05EE539C4A}" srcId="{1F9DD779-B3BD-4AA0-AB13-C38650497F17}" destId="{F26F653A-2F6C-4C01-A746-062C41ACA13F}" srcOrd="1" destOrd="0" parTransId="{46FDEB9C-4642-4670-AA83-783B1AE4FAB5}" sibTransId="{8517619D-C038-42BF-8A7B-3B7B4355EB57}"/>
    <dgm:cxn modelId="{0B8A280E-DA91-46CC-B22E-2E2E65536E72}" srcId="{426C4A32-26E5-4629-9D88-1162318419E4}" destId="{1F9DD779-B3BD-4AA0-AB13-C38650497F17}" srcOrd="2" destOrd="0" parTransId="{DFA3DED5-4C55-44FA-81F7-4696CEA92428}" sibTransId="{7A8DC637-E2FC-4171-AF82-97293C88AB29}"/>
    <dgm:cxn modelId="{B6CE68F1-354D-48AA-A353-4D7206C14F10}" srcId="{426C4A32-26E5-4629-9D88-1162318419E4}" destId="{064469A7-2962-4514-AE1B-48CAD74B89F5}" srcOrd="0" destOrd="0" parTransId="{0F211821-030A-4EBD-B54E-3554C274DEE9}" sibTransId="{7241934F-60BE-4D04-8C7C-C96DD0962BBB}"/>
    <dgm:cxn modelId="{379FA818-B5AE-4FB7-BEAB-8D5D84F6B6B4}" srcId="{064469A7-2962-4514-AE1B-48CAD74B89F5}" destId="{35DA1D30-9EC9-4EBE-9C91-9A643D32F9F5}" srcOrd="0" destOrd="0" parTransId="{549E60F3-BDB3-4FC6-A633-90881DA1F755}" sibTransId="{B99AD4D2-DC8D-441A-8483-3605EF280F8B}"/>
    <dgm:cxn modelId="{4DB19095-CF8D-4331-9A96-20EC73CBB0B3}" type="presParOf" srcId="{1FF0C413-DD02-411B-A828-8F012F82E807}" destId="{A1F70722-2FEC-43E3-9A23-B1F4E642EE64}" srcOrd="0" destOrd="0" presId="urn:diagrams.loki3.com/BracketList+Icon"/>
    <dgm:cxn modelId="{4AC94307-89B9-4220-83FD-3EF69857F7AF}" type="presParOf" srcId="{A1F70722-2FEC-43E3-9A23-B1F4E642EE64}" destId="{AC37217A-60E8-4486-91D3-00ABFF0C9208}" srcOrd="0" destOrd="0" presId="urn:diagrams.loki3.com/BracketList+Icon"/>
    <dgm:cxn modelId="{C9F39132-28D3-490F-8A80-D968534B0194}" type="presParOf" srcId="{A1F70722-2FEC-43E3-9A23-B1F4E642EE64}" destId="{2A249A0F-2B19-4081-B596-AFEEFB00AEC6}" srcOrd="1" destOrd="0" presId="urn:diagrams.loki3.com/BracketList+Icon"/>
    <dgm:cxn modelId="{F205F21A-D40E-4C86-8097-B6A184D5C546}" type="presParOf" srcId="{A1F70722-2FEC-43E3-9A23-B1F4E642EE64}" destId="{43A07CAD-EEC5-498B-87A9-364C1ED77674}" srcOrd="2" destOrd="0" presId="urn:diagrams.loki3.com/BracketList+Icon"/>
    <dgm:cxn modelId="{1F49F0EA-D30E-4D75-991F-1144C026C88D}" type="presParOf" srcId="{A1F70722-2FEC-43E3-9A23-B1F4E642EE64}" destId="{63C88672-20D1-4CF1-8191-18C470C93209}" srcOrd="3" destOrd="0" presId="urn:diagrams.loki3.com/BracketList+Icon"/>
    <dgm:cxn modelId="{12E6B25D-385A-4CBA-8E77-1371C485BB35}" type="presParOf" srcId="{1FF0C413-DD02-411B-A828-8F012F82E807}" destId="{EA7DAB9F-CA13-4E53-A2E8-97396852C397}" srcOrd="1" destOrd="0" presId="urn:diagrams.loki3.com/BracketList+Icon"/>
    <dgm:cxn modelId="{5E951AB3-196D-4389-92B6-977F29A76697}" type="presParOf" srcId="{1FF0C413-DD02-411B-A828-8F012F82E807}" destId="{78A4640A-F2E8-4336-ADA0-249E00029259}" srcOrd="2" destOrd="0" presId="urn:diagrams.loki3.com/BracketList+Icon"/>
    <dgm:cxn modelId="{926F7EB4-8392-498D-B661-5D2E033F5DE1}" type="presParOf" srcId="{78A4640A-F2E8-4336-ADA0-249E00029259}" destId="{48BF8545-62FB-48D0-BF6C-B1E5382DA192}" srcOrd="0" destOrd="0" presId="urn:diagrams.loki3.com/BracketList+Icon"/>
    <dgm:cxn modelId="{3D84FFC3-F3F7-4603-9FFA-15A37EB9C230}" type="presParOf" srcId="{78A4640A-F2E8-4336-ADA0-249E00029259}" destId="{F6011C12-C47D-48F7-AA89-AACEE724CC0F}" srcOrd="1" destOrd="0" presId="urn:diagrams.loki3.com/BracketList+Icon"/>
    <dgm:cxn modelId="{EF13D161-74CF-4DD3-9FE8-77A05D750D1F}" type="presParOf" srcId="{78A4640A-F2E8-4336-ADA0-249E00029259}" destId="{47238512-0D02-4A31-94B1-6D5B163C7BF5}" srcOrd="2" destOrd="0" presId="urn:diagrams.loki3.com/BracketList+Icon"/>
    <dgm:cxn modelId="{D5B74A03-57DD-4FE2-893C-4BF6013B7B38}" type="presParOf" srcId="{78A4640A-F2E8-4336-ADA0-249E00029259}" destId="{FFA7EAD1-296E-40CD-93AE-D6CD3F8417E2}" srcOrd="3" destOrd="0" presId="urn:diagrams.loki3.com/BracketList+Icon"/>
    <dgm:cxn modelId="{57CA44EA-0800-4E54-8C79-366EDF27C89F}" type="presParOf" srcId="{1FF0C413-DD02-411B-A828-8F012F82E807}" destId="{E62F12E4-C6E3-4480-998F-B17D9120587B}" srcOrd="3" destOrd="0" presId="urn:diagrams.loki3.com/BracketList+Icon"/>
    <dgm:cxn modelId="{A281E720-57A5-42DB-BE94-07DEB7F0B7AF}" type="presParOf" srcId="{1FF0C413-DD02-411B-A828-8F012F82E807}" destId="{E640907A-ED0D-4B8F-A8E5-C5DA86E877F5}" srcOrd="4" destOrd="0" presId="urn:diagrams.loki3.com/BracketList+Icon"/>
    <dgm:cxn modelId="{0E6DB712-E311-481B-9F86-B063C1FA7A5F}" type="presParOf" srcId="{E640907A-ED0D-4B8F-A8E5-C5DA86E877F5}" destId="{3A7A7695-5B13-450E-98E6-6395BDCAAF31}" srcOrd="0" destOrd="0" presId="urn:diagrams.loki3.com/BracketList+Icon"/>
    <dgm:cxn modelId="{87967F6C-AC6A-42FF-BDDD-A1D0470040F7}" type="presParOf" srcId="{E640907A-ED0D-4B8F-A8E5-C5DA86E877F5}" destId="{2F54AE2C-DE06-438F-A8AA-DDE061E301AA}" srcOrd="1" destOrd="0" presId="urn:diagrams.loki3.com/BracketList+Icon"/>
    <dgm:cxn modelId="{03281B2F-ED15-478B-AD80-804C3AD55B24}" type="presParOf" srcId="{E640907A-ED0D-4B8F-A8E5-C5DA86E877F5}" destId="{DF5E01D6-1158-4B96-B707-1E4299CF3401}" srcOrd="2" destOrd="0" presId="urn:diagrams.loki3.com/BracketList+Icon"/>
    <dgm:cxn modelId="{F71F7C1C-4B9C-43E5-8B3E-7B2ED3D5D36F}" type="presParOf" srcId="{E640907A-ED0D-4B8F-A8E5-C5DA86E877F5}" destId="{15E5D75E-3B36-4A58-8BE9-931EF235A6E1}" srcOrd="3" destOrd="0" presId="urn:diagrams.loki3.com/BracketList+Icon"/>
    <dgm:cxn modelId="{EF5D218D-FE9E-41CE-A9D8-E41F40BA53C4}" type="presParOf" srcId="{1FF0C413-DD02-411B-A828-8F012F82E807}" destId="{45794429-5C7D-4A87-90C2-776BC3E4D3FC}" srcOrd="5" destOrd="0" presId="urn:diagrams.loki3.com/BracketList+Icon"/>
    <dgm:cxn modelId="{9F67A8AF-441E-4780-8E17-AD2C3A0A302E}" type="presParOf" srcId="{1FF0C413-DD02-411B-A828-8F012F82E807}" destId="{7AB7FEA2-7D00-4DA3-AC96-6A287E1D7443}" srcOrd="6" destOrd="0" presId="urn:diagrams.loki3.com/BracketList+Icon"/>
    <dgm:cxn modelId="{8DD6940C-DF1F-4F47-9593-2753ED1E2DA6}" type="presParOf" srcId="{7AB7FEA2-7D00-4DA3-AC96-6A287E1D7443}" destId="{3265399B-BC14-49E3-9B65-605C20A0A563}" srcOrd="0" destOrd="0" presId="urn:diagrams.loki3.com/BracketList+Icon"/>
    <dgm:cxn modelId="{67214152-3F10-4652-A256-8C0DDDE45365}" type="presParOf" srcId="{7AB7FEA2-7D00-4DA3-AC96-6A287E1D7443}" destId="{22B9FB7D-296D-44AE-9DD2-23A0D7AF4879}" srcOrd="1" destOrd="0" presId="urn:diagrams.loki3.com/BracketList+Icon"/>
    <dgm:cxn modelId="{90F773B1-DD3D-4724-A25D-F28D6BB18F0F}" type="presParOf" srcId="{7AB7FEA2-7D00-4DA3-AC96-6A287E1D7443}" destId="{30F11A40-B457-44DA-A6D4-797AB82B39DF}" srcOrd="2" destOrd="0" presId="urn:diagrams.loki3.com/BracketList+Icon"/>
    <dgm:cxn modelId="{CFA48298-7FB7-4337-8CFB-72CF1702E444}" type="presParOf" srcId="{7AB7FEA2-7D00-4DA3-AC96-6A287E1D7443}" destId="{8F9952F8-B1A9-4540-925B-0EC7C52AAA8E}" srcOrd="3" destOrd="0" presId="urn:diagrams.loki3.com/BracketList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13A10D8-AE6E-4515-A4AA-6EBA1F33DD8F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AEC1287E-394C-4C60-A4F1-0AA7255C27D7}">
      <dgm:prSet/>
      <dgm:spPr/>
      <dgm:t>
        <a:bodyPr/>
        <a:lstStyle/>
        <a:p>
          <a:pPr rtl="0"/>
          <a:r>
            <a:rPr lang="es-ES" b="1" i="1" smtClean="0"/>
            <a:t>Reconocimiento</a:t>
          </a:r>
          <a:endParaRPr lang="es-CO"/>
        </a:p>
      </dgm:t>
    </dgm:pt>
    <dgm:pt modelId="{9D6C6FFF-F338-4F3E-8FD3-721DE4A5FF64}" type="parTrans" cxnId="{E077FE51-0BC6-4F35-8E22-84615F272DD0}">
      <dgm:prSet/>
      <dgm:spPr/>
      <dgm:t>
        <a:bodyPr/>
        <a:lstStyle/>
        <a:p>
          <a:endParaRPr lang="es-CO"/>
        </a:p>
      </dgm:t>
    </dgm:pt>
    <dgm:pt modelId="{24A1AEC5-B6A3-43B1-84CB-D102D48492CC}" type="sibTrans" cxnId="{E077FE51-0BC6-4F35-8E22-84615F272DD0}">
      <dgm:prSet/>
      <dgm:spPr/>
      <dgm:t>
        <a:bodyPr/>
        <a:lstStyle/>
        <a:p>
          <a:endParaRPr lang="es-CO"/>
        </a:p>
      </dgm:t>
    </dgm:pt>
    <dgm:pt modelId="{CA688A56-346E-4320-B22F-905B8CB37D21}">
      <dgm:prSet/>
      <dgm:spPr/>
      <dgm:t>
        <a:bodyPr/>
        <a:lstStyle/>
        <a:p>
          <a:pPr rtl="0"/>
          <a:r>
            <a:rPr lang="es-ES" b="1" i="1" smtClean="0"/>
            <a:t>Marco normativo</a:t>
          </a:r>
          <a:endParaRPr lang="es-CO" dirty="0"/>
        </a:p>
      </dgm:t>
    </dgm:pt>
    <dgm:pt modelId="{00BC5449-DDA9-4154-9499-0E6E71D7B48D}" type="parTrans" cxnId="{AF7FC493-7AAD-45AD-8151-34FF7C6DC363}">
      <dgm:prSet/>
      <dgm:spPr/>
      <dgm:t>
        <a:bodyPr/>
        <a:lstStyle/>
        <a:p>
          <a:endParaRPr lang="es-CO"/>
        </a:p>
      </dgm:t>
    </dgm:pt>
    <dgm:pt modelId="{591CB70A-C19E-421C-B4C2-8678BC2B3CDB}" type="sibTrans" cxnId="{AF7FC493-7AAD-45AD-8151-34FF7C6DC363}">
      <dgm:prSet/>
      <dgm:spPr/>
      <dgm:t>
        <a:bodyPr/>
        <a:lstStyle/>
        <a:p>
          <a:endParaRPr lang="es-CO"/>
        </a:p>
      </dgm:t>
    </dgm:pt>
    <dgm:pt modelId="{7C0F7C26-D40D-4D71-B029-DE5B30B00E99}">
      <dgm:prSet/>
      <dgm:spPr/>
      <dgm:t>
        <a:bodyPr/>
        <a:lstStyle/>
        <a:p>
          <a:pPr rtl="0"/>
          <a:r>
            <a:rPr lang="es-ES" b="1" i="1" smtClean="0"/>
            <a:t>Estructura de la oferta</a:t>
          </a:r>
          <a:endParaRPr lang="es-CO"/>
        </a:p>
      </dgm:t>
    </dgm:pt>
    <dgm:pt modelId="{32E6E195-2A0F-490E-A5B6-0A0378736C1A}" type="parTrans" cxnId="{42C76045-489C-4C17-9679-28304B6335A6}">
      <dgm:prSet/>
      <dgm:spPr/>
      <dgm:t>
        <a:bodyPr/>
        <a:lstStyle/>
        <a:p>
          <a:endParaRPr lang="es-CO"/>
        </a:p>
      </dgm:t>
    </dgm:pt>
    <dgm:pt modelId="{CC2A187E-1A59-4357-B9C3-A8FA4943AD2D}" type="sibTrans" cxnId="{42C76045-489C-4C17-9679-28304B6335A6}">
      <dgm:prSet/>
      <dgm:spPr/>
      <dgm:t>
        <a:bodyPr/>
        <a:lstStyle/>
        <a:p>
          <a:endParaRPr lang="es-CO"/>
        </a:p>
      </dgm:t>
    </dgm:pt>
    <dgm:pt modelId="{30AFE22B-0A20-4257-B4E1-CA7EDF21D447}">
      <dgm:prSet/>
      <dgm:spPr/>
      <dgm:t>
        <a:bodyPr/>
        <a:lstStyle/>
        <a:p>
          <a:pPr rtl="0"/>
          <a:r>
            <a:rPr lang="es-ES" b="1" i="1" dirty="0" smtClean="0"/>
            <a:t>Acceso y cobertura</a:t>
          </a:r>
          <a:endParaRPr lang="es-CO" dirty="0"/>
        </a:p>
      </dgm:t>
    </dgm:pt>
    <dgm:pt modelId="{83E9167D-497B-4FFC-BB96-0B7A78FA407C}" type="parTrans" cxnId="{F9CB1484-7E23-415E-AF45-0EA4AFAF4252}">
      <dgm:prSet/>
      <dgm:spPr/>
      <dgm:t>
        <a:bodyPr/>
        <a:lstStyle/>
        <a:p>
          <a:endParaRPr lang="es-CO"/>
        </a:p>
      </dgm:t>
    </dgm:pt>
    <dgm:pt modelId="{ED8C56EC-B977-4C07-82F2-4DF3052F9597}" type="sibTrans" cxnId="{F9CB1484-7E23-415E-AF45-0EA4AFAF4252}">
      <dgm:prSet/>
      <dgm:spPr/>
      <dgm:t>
        <a:bodyPr/>
        <a:lstStyle/>
        <a:p>
          <a:endParaRPr lang="es-CO"/>
        </a:p>
      </dgm:t>
    </dgm:pt>
    <dgm:pt modelId="{64CB86BD-97E3-4DA5-B92E-1863C5B7DD34}">
      <dgm:prSet/>
      <dgm:spPr/>
      <dgm:t>
        <a:bodyPr/>
        <a:lstStyle/>
        <a:p>
          <a:pPr rtl="0"/>
          <a:r>
            <a:rPr lang="es-ES" b="1" i="1" smtClean="0"/>
            <a:t>Pertinencia</a:t>
          </a:r>
          <a:endParaRPr lang="es-CO"/>
        </a:p>
      </dgm:t>
    </dgm:pt>
    <dgm:pt modelId="{78D48BBE-EC3B-4765-BA68-5CD128FAD2EE}" type="parTrans" cxnId="{4D903E30-3BC7-4741-8E8D-5E3B911399DC}">
      <dgm:prSet/>
      <dgm:spPr/>
      <dgm:t>
        <a:bodyPr/>
        <a:lstStyle/>
        <a:p>
          <a:endParaRPr lang="es-CO"/>
        </a:p>
      </dgm:t>
    </dgm:pt>
    <dgm:pt modelId="{B5A99C3F-CF88-455F-B7DD-4D17FD906237}" type="sibTrans" cxnId="{4D903E30-3BC7-4741-8E8D-5E3B911399DC}">
      <dgm:prSet/>
      <dgm:spPr/>
      <dgm:t>
        <a:bodyPr/>
        <a:lstStyle/>
        <a:p>
          <a:endParaRPr lang="es-CO"/>
        </a:p>
      </dgm:t>
    </dgm:pt>
    <dgm:pt modelId="{357131CE-8C49-4E86-81CF-F9D589EF5576}">
      <dgm:prSet/>
      <dgm:spPr/>
      <dgm:t>
        <a:bodyPr/>
        <a:lstStyle/>
        <a:p>
          <a:pPr rtl="0"/>
          <a:r>
            <a:rPr lang="es-ES" b="1" i="1" smtClean="0"/>
            <a:t>Relevancia</a:t>
          </a:r>
          <a:endParaRPr lang="es-CO"/>
        </a:p>
      </dgm:t>
    </dgm:pt>
    <dgm:pt modelId="{A4BFC046-0D03-4497-8228-0894D855AC14}" type="parTrans" cxnId="{4FB18BE8-FA8D-4602-BC63-0D73448464B6}">
      <dgm:prSet/>
      <dgm:spPr/>
      <dgm:t>
        <a:bodyPr/>
        <a:lstStyle/>
        <a:p>
          <a:endParaRPr lang="es-CO"/>
        </a:p>
      </dgm:t>
    </dgm:pt>
    <dgm:pt modelId="{CBC35AB9-4F1B-4A15-ACE7-8031549D27D7}" type="sibTrans" cxnId="{4FB18BE8-FA8D-4602-BC63-0D73448464B6}">
      <dgm:prSet/>
      <dgm:spPr/>
      <dgm:t>
        <a:bodyPr/>
        <a:lstStyle/>
        <a:p>
          <a:endParaRPr lang="es-CO"/>
        </a:p>
      </dgm:t>
    </dgm:pt>
    <dgm:pt modelId="{7110FF5B-6048-4F5E-92A9-F705B9C2CA42}">
      <dgm:prSet/>
      <dgm:spPr/>
      <dgm:t>
        <a:bodyPr/>
        <a:lstStyle/>
        <a:p>
          <a:r>
            <a:rPr lang="es-CO" b="1" i="1" dirty="0" smtClean="0"/>
            <a:t>Calidad / Aseguramiento</a:t>
          </a:r>
          <a:endParaRPr lang="es-CO" b="1" i="1" dirty="0"/>
        </a:p>
      </dgm:t>
    </dgm:pt>
    <dgm:pt modelId="{6FE600DF-5DF8-42A1-9F19-67249BE3C7B8}" type="parTrans" cxnId="{40CC7F87-A3A0-4FFD-B02B-4AF786EF3AED}">
      <dgm:prSet/>
      <dgm:spPr/>
      <dgm:t>
        <a:bodyPr/>
        <a:lstStyle/>
        <a:p>
          <a:endParaRPr lang="es-CO"/>
        </a:p>
      </dgm:t>
    </dgm:pt>
    <dgm:pt modelId="{E1EB6D8E-B7AF-404F-B0E8-9FF68DDA8A5A}" type="sibTrans" cxnId="{40CC7F87-A3A0-4FFD-B02B-4AF786EF3AED}">
      <dgm:prSet/>
      <dgm:spPr/>
      <dgm:t>
        <a:bodyPr/>
        <a:lstStyle/>
        <a:p>
          <a:endParaRPr lang="es-CO"/>
        </a:p>
      </dgm:t>
    </dgm:pt>
    <dgm:pt modelId="{E91D8791-9A95-482F-9714-66CC5338B6CF}">
      <dgm:prSet/>
      <dgm:spPr/>
      <dgm:t>
        <a:bodyPr/>
        <a:lstStyle/>
        <a:p>
          <a:r>
            <a:rPr lang="es-CO" b="1" i="1" dirty="0" smtClean="0"/>
            <a:t>Articulación / Trabajo en red</a:t>
          </a:r>
          <a:endParaRPr lang="es-CO" b="1" i="1" dirty="0"/>
        </a:p>
      </dgm:t>
    </dgm:pt>
    <dgm:pt modelId="{6D72D1E8-1DB5-43A7-8278-BAAE960A4D81}" type="parTrans" cxnId="{219CD789-129C-4EF8-BE08-0A3B6201C206}">
      <dgm:prSet/>
      <dgm:spPr/>
      <dgm:t>
        <a:bodyPr/>
        <a:lstStyle/>
        <a:p>
          <a:endParaRPr lang="es-CO"/>
        </a:p>
      </dgm:t>
    </dgm:pt>
    <dgm:pt modelId="{9992F228-01CD-4783-8F07-304CC66BD26D}" type="sibTrans" cxnId="{219CD789-129C-4EF8-BE08-0A3B6201C206}">
      <dgm:prSet/>
      <dgm:spPr/>
      <dgm:t>
        <a:bodyPr/>
        <a:lstStyle/>
        <a:p>
          <a:endParaRPr lang="es-CO"/>
        </a:p>
      </dgm:t>
    </dgm:pt>
    <dgm:pt modelId="{48097E8F-BAAE-4CC8-BE76-6AF753A404EF}">
      <dgm:prSet/>
      <dgm:spPr/>
      <dgm:t>
        <a:bodyPr/>
        <a:lstStyle/>
        <a:p>
          <a:r>
            <a:rPr lang="es-CO" b="1" i="1" dirty="0" smtClean="0"/>
            <a:t>Incentivos</a:t>
          </a:r>
          <a:r>
            <a:rPr lang="es-CO" dirty="0" smtClean="0"/>
            <a:t> </a:t>
          </a:r>
          <a:endParaRPr lang="es-CO" dirty="0"/>
        </a:p>
      </dgm:t>
    </dgm:pt>
    <dgm:pt modelId="{7432036D-5E24-423F-9A5A-A2360317F921}" type="parTrans" cxnId="{57C3206F-63EC-46BF-9F34-BBF538088957}">
      <dgm:prSet/>
      <dgm:spPr/>
      <dgm:t>
        <a:bodyPr/>
        <a:lstStyle/>
        <a:p>
          <a:endParaRPr lang="es-CO"/>
        </a:p>
      </dgm:t>
    </dgm:pt>
    <dgm:pt modelId="{E55A5653-F858-4258-819E-35B491866CFD}" type="sibTrans" cxnId="{57C3206F-63EC-46BF-9F34-BBF538088957}">
      <dgm:prSet/>
      <dgm:spPr/>
      <dgm:t>
        <a:bodyPr/>
        <a:lstStyle/>
        <a:p>
          <a:endParaRPr lang="es-CO"/>
        </a:p>
      </dgm:t>
    </dgm:pt>
    <dgm:pt modelId="{A100C76E-8FAD-423D-B24B-F0AEB92CA98E}">
      <dgm:prSet/>
      <dgm:spPr/>
      <dgm:t>
        <a:bodyPr/>
        <a:lstStyle/>
        <a:p>
          <a:r>
            <a:rPr lang="es-CO" b="1" i="1" dirty="0" smtClean="0"/>
            <a:t>Gestión Institucional</a:t>
          </a:r>
          <a:endParaRPr lang="es-CO" b="1" i="1" dirty="0"/>
        </a:p>
      </dgm:t>
    </dgm:pt>
    <dgm:pt modelId="{186352D8-545C-4244-82B7-EFA9C9696BB8}" type="parTrans" cxnId="{ADE9FB32-ED08-4404-A766-57B3FEE76408}">
      <dgm:prSet/>
      <dgm:spPr/>
      <dgm:t>
        <a:bodyPr/>
        <a:lstStyle/>
        <a:p>
          <a:endParaRPr lang="es-CO"/>
        </a:p>
      </dgm:t>
    </dgm:pt>
    <dgm:pt modelId="{2C715A40-C5C4-4426-821D-6EF8F5D833A6}" type="sibTrans" cxnId="{ADE9FB32-ED08-4404-A766-57B3FEE76408}">
      <dgm:prSet/>
      <dgm:spPr/>
      <dgm:t>
        <a:bodyPr/>
        <a:lstStyle/>
        <a:p>
          <a:endParaRPr lang="es-CO"/>
        </a:p>
      </dgm:t>
    </dgm:pt>
    <dgm:pt modelId="{7300A61D-A97F-409F-B797-94D7A4C3ACA9}" type="pres">
      <dgm:prSet presAssocID="{313A10D8-AE6E-4515-A4AA-6EBA1F33DD8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9FE83EFF-4AAB-4575-BC31-66CADA8E637C}" type="pres">
      <dgm:prSet presAssocID="{AEC1287E-394C-4C60-A4F1-0AA7255C27D7}" presName="parentText" presStyleLbl="node1" presStyleIdx="0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98FE891-9028-4CD1-A73B-AAD7BF2877DF}" type="pres">
      <dgm:prSet presAssocID="{24A1AEC5-B6A3-43B1-84CB-D102D48492CC}" presName="spacer" presStyleCnt="0"/>
      <dgm:spPr/>
      <dgm:t>
        <a:bodyPr/>
        <a:lstStyle/>
        <a:p>
          <a:endParaRPr lang="es-CO"/>
        </a:p>
      </dgm:t>
    </dgm:pt>
    <dgm:pt modelId="{7E711766-2E94-4937-A343-E5EF51209260}" type="pres">
      <dgm:prSet presAssocID="{CA688A56-346E-4320-B22F-905B8CB37D21}" presName="parentText" presStyleLbl="node1" presStyleIdx="1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4CDB9DD-52CD-470F-B872-4E721398B181}" type="pres">
      <dgm:prSet presAssocID="{591CB70A-C19E-421C-B4C2-8678BC2B3CDB}" presName="spacer" presStyleCnt="0"/>
      <dgm:spPr/>
      <dgm:t>
        <a:bodyPr/>
        <a:lstStyle/>
        <a:p>
          <a:endParaRPr lang="es-CO"/>
        </a:p>
      </dgm:t>
    </dgm:pt>
    <dgm:pt modelId="{B17F195D-48D4-4A79-A2C3-CB3AAE8E579B}" type="pres">
      <dgm:prSet presAssocID="{7C0F7C26-D40D-4D71-B029-DE5B30B00E99}" presName="parentText" presStyleLbl="node1" presStyleIdx="2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C321025-4DA6-46D1-8A19-7E7EC6EA9091}" type="pres">
      <dgm:prSet presAssocID="{CC2A187E-1A59-4357-B9C3-A8FA4943AD2D}" presName="spacer" presStyleCnt="0"/>
      <dgm:spPr/>
      <dgm:t>
        <a:bodyPr/>
        <a:lstStyle/>
        <a:p>
          <a:endParaRPr lang="es-CO"/>
        </a:p>
      </dgm:t>
    </dgm:pt>
    <dgm:pt modelId="{76F91CAB-D58C-48E6-BEA0-B9251B7296B0}" type="pres">
      <dgm:prSet presAssocID="{A100C76E-8FAD-423D-B24B-F0AEB92CA98E}" presName="parentText" presStyleLbl="node1" presStyleIdx="3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2EC6A0C-59A0-4654-8FBA-1E51DD812846}" type="pres">
      <dgm:prSet presAssocID="{2C715A40-C5C4-4426-821D-6EF8F5D833A6}" presName="spacer" presStyleCnt="0"/>
      <dgm:spPr/>
    </dgm:pt>
    <dgm:pt modelId="{B2161BA5-52EF-4331-BA33-C3871B3789DC}" type="pres">
      <dgm:prSet presAssocID="{30AFE22B-0A20-4257-B4E1-CA7EDF21D447}" presName="parentText" presStyleLbl="node1" presStyleIdx="4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BDEEF58-1F73-44EB-A890-56D0D48885A3}" type="pres">
      <dgm:prSet presAssocID="{ED8C56EC-B977-4C07-82F2-4DF3052F9597}" presName="spacer" presStyleCnt="0"/>
      <dgm:spPr/>
      <dgm:t>
        <a:bodyPr/>
        <a:lstStyle/>
        <a:p>
          <a:endParaRPr lang="es-CO"/>
        </a:p>
      </dgm:t>
    </dgm:pt>
    <dgm:pt modelId="{BA9C000F-1ADC-470E-958D-CC8137B9E5E9}" type="pres">
      <dgm:prSet presAssocID="{64CB86BD-97E3-4DA5-B92E-1863C5B7DD34}" presName="parentText" presStyleLbl="node1" presStyleIdx="5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709EEE4-FFD9-4635-A105-A38230A51DB5}" type="pres">
      <dgm:prSet presAssocID="{B5A99C3F-CF88-455F-B7DD-4D17FD906237}" presName="spacer" presStyleCnt="0"/>
      <dgm:spPr/>
      <dgm:t>
        <a:bodyPr/>
        <a:lstStyle/>
        <a:p>
          <a:endParaRPr lang="es-CO"/>
        </a:p>
      </dgm:t>
    </dgm:pt>
    <dgm:pt modelId="{4CD327C2-7223-4322-B5AE-4C273B38F580}" type="pres">
      <dgm:prSet presAssocID="{357131CE-8C49-4E86-81CF-F9D589EF5576}" presName="parentText" presStyleLbl="node1" presStyleIdx="6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732B833-1430-4A82-BFB3-81A3850540D4}" type="pres">
      <dgm:prSet presAssocID="{CBC35AB9-4F1B-4A15-ACE7-8031549D27D7}" presName="spacer" presStyleCnt="0"/>
      <dgm:spPr/>
      <dgm:t>
        <a:bodyPr/>
        <a:lstStyle/>
        <a:p>
          <a:endParaRPr lang="es-CO"/>
        </a:p>
      </dgm:t>
    </dgm:pt>
    <dgm:pt modelId="{7A919F40-46A7-4F03-9613-BF7F66B87EFD}" type="pres">
      <dgm:prSet presAssocID="{7110FF5B-6048-4F5E-92A9-F705B9C2CA42}" presName="parentText" presStyleLbl="node1" presStyleIdx="7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E285BE-52F6-470A-85F2-A3FB32DBAC5C}" type="pres">
      <dgm:prSet presAssocID="{E1EB6D8E-B7AF-404F-B0E8-9FF68DDA8A5A}" presName="spacer" presStyleCnt="0"/>
      <dgm:spPr/>
      <dgm:t>
        <a:bodyPr/>
        <a:lstStyle/>
        <a:p>
          <a:endParaRPr lang="es-CO"/>
        </a:p>
      </dgm:t>
    </dgm:pt>
    <dgm:pt modelId="{3EB26120-9174-403B-BD39-E30CCB7A08B5}" type="pres">
      <dgm:prSet presAssocID="{E91D8791-9A95-482F-9714-66CC5338B6CF}" presName="parentText" presStyleLbl="node1" presStyleIdx="8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0021BBA-A2A0-4727-A35D-45E260F2B90D}" type="pres">
      <dgm:prSet presAssocID="{9992F228-01CD-4783-8F07-304CC66BD26D}" presName="spacer" presStyleCnt="0"/>
      <dgm:spPr/>
      <dgm:t>
        <a:bodyPr/>
        <a:lstStyle/>
        <a:p>
          <a:endParaRPr lang="es-CO"/>
        </a:p>
      </dgm:t>
    </dgm:pt>
    <dgm:pt modelId="{7419C4BD-B32F-45CF-B5A2-EDD688B37B29}" type="pres">
      <dgm:prSet presAssocID="{48097E8F-BAAE-4CC8-BE76-6AF753A404EF}" presName="parentText" presStyleLbl="node1" presStyleIdx="9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08FB1D3-9491-4F82-A59E-A42295F6F5F4}" type="presOf" srcId="{A100C76E-8FAD-423D-B24B-F0AEB92CA98E}" destId="{76F91CAB-D58C-48E6-BEA0-B9251B7296B0}" srcOrd="0" destOrd="0" presId="urn:microsoft.com/office/officeart/2005/8/layout/vList2"/>
    <dgm:cxn modelId="{14CDF350-7B88-445B-8300-CB989E35D29A}" type="presOf" srcId="{CA688A56-346E-4320-B22F-905B8CB37D21}" destId="{7E711766-2E94-4937-A343-E5EF51209260}" srcOrd="0" destOrd="0" presId="urn:microsoft.com/office/officeart/2005/8/layout/vList2"/>
    <dgm:cxn modelId="{57C3206F-63EC-46BF-9F34-BBF538088957}" srcId="{313A10D8-AE6E-4515-A4AA-6EBA1F33DD8F}" destId="{48097E8F-BAAE-4CC8-BE76-6AF753A404EF}" srcOrd="9" destOrd="0" parTransId="{7432036D-5E24-423F-9A5A-A2360317F921}" sibTransId="{E55A5653-F858-4258-819E-35B491866CFD}"/>
    <dgm:cxn modelId="{4FB18BE8-FA8D-4602-BC63-0D73448464B6}" srcId="{313A10D8-AE6E-4515-A4AA-6EBA1F33DD8F}" destId="{357131CE-8C49-4E86-81CF-F9D589EF5576}" srcOrd="6" destOrd="0" parTransId="{A4BFC046-0D03-4497-8228-0894D855AC14}" sibTransId="{CBC35AB9-4F1B-4A15-ACE7-8031549D27D7}"/>
    <dgm:cxn modelId="{219CD789-129C-4EF8-BE08-0A3B6201C206}" srcId="{313A10D8-AE6E-4515-A4AA-6EBA1F33DD8F}" destId="{E91D8791-9A95-482F-9714-66CC5338B6CF}" srcOrd="8" destOrd="0" parTransId="{6D72D1E8-1DB5-43A7-8278-BAAE960A4D81}" sibTransId="{9992F228-01CD-4783-8F07-304CC66BD26D}"/>
    <dgm:cxn modelId="{42C76045-489C-4C17-9679-28304B6335A6}" srcId="{313A10D8-AE6E-4515-A4AA-6EBA1F33DD8F}" destId="{7C0F7C26-D40D-4D71-B029-DE5B30B00E99}" srcOrd="2" destOrd="0" parTransId="{32E6E195-2A0F-490E-A5B6-0A0378736C1A}" sibTransId="{CC2A187E-1A59-4357-B9C3-A8FA4943AD2D}"/>
    <dgm:cxn modelId="{ADE9FB32-ED08-4404-A766-57B3FEE76408}" srcId="{313A10D8-AE6E-4515-A4AA-6EBA1F33DD8F}" destId="{A100C76E-8FAD-423D-B24B-F0AEB92CA98E}" srcOrd="3" destOrd="0" parTransId="{186352D8-545C-4244-82B7-EFA9C9696BB8}" sibTransId="{2C715A40-C5C4-4426-821D-6EF8F5D833A6}"/>
    <dgm:cxn modelId="{8A17176F-F78B-48FF-AEE6-F366DF020B50}" type="presOf" srcId="{64CB86BD-97E3-4DA5-B92E-1863C5B7DD34}" destId="{BA9C000F-1ADC-470E-958D-CC8137B9E5E9}" srcOrd="0" destOrd="0" presId="urn:microsoft.com/office/officeart/2005/8/layout/vList2"/>
    <dgm:cxn modelId="{91C1FBEE-960E-44D8-9611-5D068E9E3156}" type="presOf" srcId="{E91D8791-9A95-482F-9714-66CC5338B6CF}" destId="{3EB26120-9174-403B-BD39-E30CCB7A08B5}" srcOrd="0" destOrd="0" presId="urn:microsoft.com/office/officeart/2005/8/layout/vList2"/>
    <dgm:cxn modelId="{F9CB1484-7E23-415E-AF45-0EA4AFAF4252}" srcId="{313A10D8-AE6E-4515-A4AA-6EBA1F33DD8F}" destId="{30AFE22B-0A20-4257-B4E1-CA7EDF21D447}" srcOrd="4" destOrd="0" parTransId="{83E9167D-497B-4FFC-BB96-0B7A78FA407C}" sibTransId="{ED8C56EC-B977-4C07-82F2-4DF3052F9597}"/>
    <dgm:cxn modelId="{70D89C9D-1219-4C99-AB8C-D0A577FDB8D6}" type="presOf" srcId="{30AFE22B-0A20-4257-B4E1-CA7EDF21D447}" destId="{B2161BA5-52EF-4331-BA33-C3871B3789DC}" srcOrd="0" destOrd="0" presId="urn:microsoft.com/office/officeart/2005/8/layout/vList2"/>
    <dgm:cxn modelId="{AF7FC493-7AAD-45AD-8151-34FF7C6DC363}" srcId="{313A10D8-AE6E-4515-A4AA-6EBA1F33DD8F}" destId="{CA688A56-346E-4320-B22F-905B8CB37D21}" srcOrd="1" destOrd="0" parTransId="{00BC5449-DDA9-4154-9499-0E6E71D7B48D}" sibTransId="{591CB70A-C19E-421C-B4C2-8678BC2B3CDB}"/>
    <dgm:cxn modelId="{49600704-20F8-47E9-A552-EFF7A6AB8154}" type="presOf" srcId="{48097E8F-BAAE-4CC8-BE76-6AF753A404EF}" destId="{7419C4BD-B32F-45CF-B5A2-EDD688B37B29}" srcOrd="0" destOrd="0" presId="urn:microsoft.com/office/officeart/2005/8/layout/vList2"/>
    <dgm:cxn modelId="{4D903E30-3BC7-4741-8E8D-5E3B911399DC}" srcId="{313A10D8-AE6E-4515-A4AA-6EBA1F33DD8F}" destId="{64CB86BD-97E3-4DA5-B92E-1863C5B7DD34}" srcOrd="5" destOrd="0" parTransId="{78D48BBE-EC3B-4765-BA68-5CD128FAD2EE}" sibTransId="{B5A99C3F-CF88-455F-B7DD-4D17FD906237}"/>
    <dgm:cxn modelId="{E077FE51-0BC6-4F35-8E22-84615F272DD0}" srcId="{313A10D8-AE6E-4515-A4AA-6EBA1F33DD8F}" destId="{AEC1287E-394C-4C60-A4F1-0AA7255C27D7}" srcOrd="0" destOrd="0" parTransId="{9D6C6FFF-F338-4F3E-8FD3-721DE4A5FF64}" sibTransId="{24A1AEC5-B6A3-43B1-84CB-D102D48492CC}"/>
    <dgm:cxn modelId="{51ADC929-26BE-4E08-9A61-DBA1B3D6DEDD}" type="presOf" srcId="{7110FF5B-6048-4F5E-92A9-F705B9C2CA42}" destId="{7A919F40-46A7-4F03-9613-BF7F66B87EFD}" srcOrd="0" destOrd="0" presId="urn:microsoft.com/office/officeart/2005/8/layout/vList2"/>
    <dgm:cxn modelId="{F2862205-D97F-4480-9C4F-5416D5B3F1F0}" type="presOf" srcId="{357131CE-8C49-4E86-81CF-F9D589EF5576}" destId="{4CD327C2-7223-4322-B5AE-4C273B38F580}" srcOrd="0" destOrd="0" presId="urn:microsoft.com/office/officeart/2005/8/layout/vList2"/>
    <dgm:cxn modelId="{596A01FF-4F42-431D-8274-1B994A598D8B}" type="presOf" srcId="{AEC1287E-394C-4C60-A4F1-0AA7255C27D7}" destId="{9FE83EFF-4AAB-4575-BC31-66CADA8E637C}" srcOrd="0" destOrd="0" presId="urn:microsoft.com/office/officeart/2005/8/layout/vList2"/>
    <dgm:cxn modelId="{B9854DB5-E2BE-48A4-B3A7-AF43055CFA16}" type="presOf" srcId="{7C0F7C26-D40D-4D71-B029-DE5B30B00E99}" destId="{B17F195D-48D4-4A79-A2C3-CB3AAE8E579B}" srcOrd="0" destOrd="0" presId="urn:microsoft.com/office/officeart/2005/8/layout/vList2"/>
    <dgm:cxn modelId="{40CC7F87-A3A0-4FFD-B02B-4AF786EF3AED}" srcId="{313A10D8-AE6E-4515-A4AA-6EBA1F33DD8F}" destId="{7110FF5B-6048-4F5E-92A9-F705B9C2CA42}" srcOrd="7" destOrd="0" parTransId="{6FE600DF-5DF8-42A1-9F19-67249BE3C7B8}" sibTransId="{E1EB6D8E-B7AF-404F-B0E8-9FF68DDA8A5A}"/>
    <dgm:cxn modelId="{76843525-EBE0-473E-BC4A-AF36383347D3}" type="presOf" srcId="{313A10D8-AE6E-4515-A4AA-6EBA1F33DD8F}" destId="{7300A61D-A97F-409F-B797-94D7A4C3ACA9}" srcOrd="0" destOrd="0" presId="urn:microsoft.com/office/officeart/2005/8/layout/vList2"/>
    <dgm:cxn modelId="{D9C3F6EC-2A8F-4CE4-B97D-C91DDC0C6E60}" type="presParOf" srcId="{7300A61D-A97F-409F-B797-94D7A4C3ACA9}" destId="{9FE83EFF-4AAB-4575-BC31-66CADA8E637C}" srcOrd="0" destOrd="0" presId="urn:microsoft.com/office/officeart/2005/8/layout/vList2"/>
    <dgm:cxn modelId="{D229BD13-9195-47AB-AEB8-30DA03402292}" type="presParOf" srcId="{7300A61D-A97F-409F-B797-94D7A4C3ACA9}" destId="{C98FE891-9028-4CD1-A73B-AAD7BF2877DF}" srcOrd="1" destOrd="0" presId="urn:microsoft.com/office/officeart/2005/8/layout/vList2"/>
    <dgm:cxn modelId="{34020D5C-F50F-4A43-984D-3119CB720B13}" type="presParOf" srcId="{7300A61D-A97F-409F-B797-94D7A4C3ACA9}" destId="{7E711766-2E94-4937-A343-E5EF51209260}" srcOrd="2" destOrd="0" presId="urn:microsoft.com/office/officeart/2005/8/layout/vList2"/>
    <dgm:cxn modelId="{72321A61-595E-4F72-BCE5-B33AEA87C84C}" type="presParOf" srcId="{7300A61D-A97F-409F-B797-94D7A4C3ACA9}" destId="{A4CDB9DD-52CD-470F-B872-4E721398B181}" srcOrd="3" destOrd="0" presId="urn:microsoft.com/office/officeart/2005/8/layout/vList2"/>
    <dgm:cxn modelId="{1C8DD9DD-CAFD-465A-B17F-F34902E6815E}" type="presParOf" srcId="{7300A61D-A97F-409F-B797-94D7A4C3ACA9}" destId="{B17F195D-48D4-4A79-A2C3-CB3AAE8E579B}" srcOrd="4" destOrd="0" presId="urn:microsoft.com/office/officeart/2005/8/layout/vList2"/>
    <dgm:cxn modelId="{AD44A158-2C0B-4467-9DEA-5F9F2EF5677B}" type="presParOf" srcId="{7300A61D-A97F-409F-B797-94D7A4C3ACA9}" destId="{7C321025-4DA6-46D1-8A19-7E7EC6EA9091}" srcOrd="5" destOrd="0" presId="urn:microsoft.com/office/officeart/2005/8/layout/vList2"/>
    <dgm:cxn modelId="{5AFAD678-1C1D-444D-8925-FA2614502FD8}" type="presParOf" srcId="{7300A61D-A97F-409F-B797-94D7A4C3ACA9}" destId="{76F91CAB-D58C-48E6-BEA0-B9251B7296B0}" srcOrd="6" destOrd="0" presId="urn:microsoft.com/office/officeart/2005/8/layout/vList2"/>
    <dgm:cxn modelId="{9BC6288D-F3E0-4438-A361-F6BFFB0DFEF7}" type="presParOf" srcId="{7300A61D-A97F-409F-B797-94D7A4C3ACA9}" destId="{A2EC6A0C-59A0-4654-8FBA-1E51DD812846}" srcOrd="7" destOrd="0" presId="urn:microsoft.com/office/officeart/2005/8/layout/vList2"/>
    <dgm:cxn modelId="{655DABF2-1B6C-467D-B3A6-375E8CB34B21}" type="presParOf" srcId="{7300A61D-A97F-409F-B797-94D7A4C3ACA9}" destId="{B2161BA5-52EF-4331-BA33-C3871B3789DC}" srcOrd="8" destOrd="0" presId="urn:microsoft.com/office/officeart/2005/8/layout/vList2"/>
    <dgm:cxn modelId="{0D5E1C02-8DBB-4D30-8C88-664A1C6C9A0A}" type="presParOf" srcId="{7300A61D-A97F-409F-B797-94D7A4C3ACA9}" destId="{4BDEEF58-1F73-44EB-A890-56D0D48885A3}" srcOrd="9" destOrd="0" presId="urn:microsoft.com/office/officeart/2005/8/layout/vList2"/>
    <dgm:cxn modelId="{EB15B365-180F-4759-B702-51527934F8DB}" type="presParOf" srcId="{7300A61D-A97F-409F-B797-94D7A4C3ACA9}" destId="{BA9C000F-1ADC-470E-958D-CC8137B9E5E9}" srcOrd="10" destOrd="0" presId="urn:microsoft.com/office/officeart/2005/8/layout/vList2"/>
    <dgm:cxn modelId="{50859698-B0BB-4BA1-B3FD-F62205B0E9DA}" type="presParOf" srcId="{7300A61D-A97F-409F-B797-94D7A4C3ACA9}" destId="{1709EEE4-FFD9-4635-A105-A38230A51DB5}" srcOrd="11" destOrd="0" presId="urn:microsoft.com/office/officeart/2005/8/layout/vList2"/>
    <dgm:cxn modelId="{CC4E7085-C1EE-4E22-B0C0-D50DD29A3F70}" type="presParOf" srcId="{7300A61D-A97F-409F-B797-94D7A4C3ACA9}" destId="{4CD327C2-7223-4322-B5AE-4C273B38F580}" srcOrd="12" destOrd="0" presId="urn:microsoft.com/office/officeart/2005/8/layout/vList2"/>
    <dgm:cxn modelId="{EB72C71B-63CA-4E52-818A-BA91548B1C74}" type="presParOf" srcId="{7300A61D-A97F-409F-B797-94D7A4C3ACA9}" destId="{A732B833-1430-4A82-BFB3-81A3850540D4}" srcOrd="13" destOrd="0" presId="urn:microsoft.com/office/officeart/2005/8/layout/vList2"/>
    <dgm:cxn modelId="{0B0FA995-23C7-43E4-ADD6-E2AC9CDE5E74}" type="presParOf" srcId="{7300A61D-A97F-409F-B797-94D7A4C3ACA9}" destId="{7A919F40-46A7-4F03-9613-BF7F66B87EFD}" srcOrd="14" destOrd="0" presId="urn:microsoft.com/office/officeart/2005/8/layout/vList2"/>
    <dgm:cxn modelId="{C0CAC2AF-F09C-40DB-99F6-F7D551B1F36A}" type="presParOf" srcId="{7300A61D-A97F-409F-B797-94D7A4C3ACA9}" destId="{73E285BE-52F6-470A-85F2-A3FB32DBAC5C}" srcOrd="15" destOrd="0" presId="urn:microsoft.com/office/officeart/2005/8/layout/vList2"/>
    <dgm:cxn modelId="{BAF977B6-2B90-43DC-88E5-BA77C58CD586}" type="presParOf" srcId="{7300A61D-A97F-409F-B797-94D7A4C3ACA9}" destId="{3EB26120-9174-403B-BD39-E30CCB7A08B5}" srcOrd="16" destOrd="0" presId="urn:microsoft.com/office/officeart/2005/8/layout/vList2"/>
    <dgm:cxn modelId="{D52A6E3D-637E-4A38-8C12-1A66EF4712A4}" type="presParOf" srcId="{7300A61D-A97F-409F-B797-94D7A4C3ACA9}" destId="{B0021BBA-A2A0-4727-A35D-45E260F2B90D}" srcOrd="17" destOrd="0" presId="urn:microsoft.com/office/officeart/2005/8/layout/vList2"/>
    <dgm:cxn modelId="{8EF33097-8745-40DD-8A94-85A8912D7F1C}" type="presParOf" srcId="{7300A61D-A97F-409F-B797-94D7A4C3ACA9}" destId="{7419C4BD-B32F-45CF-B5A2-EDD688B37B29}" srcOrd="1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917FCDC-E054-4D0D-A491-ED4F082202F5}" type="doc">
      <dgm:prSet loTypeId="urn:microsoft.com/office/officeart/2005/8/layout/target2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4469965B-D5B0-477D-8E0C-0A92795F79C8}">
      <dgm:prSet phldrT="[Texto]"/>
      <dgm:spPr/>
      <dgm:t>
        <a:bodyPr/>
        <a:lstStyle/>
        <a:p>
          <a:r>
            <a:rPr lang="es-CO" b="1" dirty="0" smtClean="0"/>
            <a:t>CONSOLIDAR SISTEMA NAL DE FORMACION PARA EL TRABAJO</a:t>
          </a:r>
          <a:endParaRPr lang="es-CO" b="1" dirty="0"/>
        </a:p>
      </dgm:t>
    </dgm:pt>
    <dgm:pt modelId="{72DCC20A-530C-4C3C-804F-0F4945B5CEA1}" type="parTrans" cxnId="{D29E7CE6-B5C2-4CFB-8CB7-7A6F7E2D51A2}">
      <dgm:prSet/>
      <dgm:spPr/>
      <dgm:t>
        <a:bodyPr/>
        <a:lstStyle/>
        <a:p>
          <a:endParaRPr lang="es-CO"/>
        </a:p>
      </dgm:t>
    </dgm:pt>
    <dgm:pt modelId="{73DE955F-14D5-4696-8929-DCAEF1E0F5A4}" type="sibTrans" cxnId="{D29E7CE6-B5C2-4CFB-8CB7-7A6F7E2D51A2}">
      <dgm:prSet/>
      <dgm:spPr/>
      <dgm:t>
        <a:bodyPr/>
        <a:lstStyle/>
        <a:p>
          <a:endParaRPr lang="es-CO"/>
        </a:p>
      </dgm:t>
    </dgm:pt>
    <dgm:pt modelId="{18CC1DAF-4CEA-4607-A34D-F7292DC0DE62}">
      <dgm:prSet phldrT="[Texto]" custT="1"/>
      <dgm:spPr/>
      <dgm:t>
        <a:bodyPr/>
        <a:lstStyle/>
        <a:p>
          <a:r>
            <a:rPr lang="es-CO" sz="1200" dirty="0" smtClean="0"/>
            <a:t> IMAGEN  NAL E INTERNACIONAL</a:t>
          </a:r>
          <a:endParaRPr lang="es-CO" sz="1200" dirty="0"/>
        </a:p>
      </dgm:t>
    </dgm:pt>
    <dgm:pt modelId="{1029091E-AE6F-4EAA-8CE2-860C2D9F7516}" type="parTrans" cxnId="{8347CD51-98AE-44E0-9B49-7756EFC99AFE}">
      <dgm:prSet/>
      <dgm:spPr/>
      <dgm:t>
        <a:bodyPr/>
        <a:lstStyle/>
        <a:p>
          <a:endParaRPr lang="es-CO"/>
        </a:p>
      </dgm:t>
    </dgm:pt>
    <dgm:pt modelId="{0CA196D2-5783-4BC6-BCD5-BFF10C663211}" type="sibTrans" cxnId="{8347CD51-98AE-44E0-9B49-7756EFC99AFE}">
      <dgm:prSet/>
      <dgm:spPr/>
      <dgm:t>
        <a:bodyPr/>
        <a:lstStyle/>
        <a:p>
          <a:endParaRPr lang="es-CO"/>
        </a:p>
      </dgm:t>
    </dgm:pt>
    <dgm:pt modelId="{C718C459-46D0-4E8B-A439-BF75E63FC8C7}">
      <dgm:prSet phldrT="[Texto]" custT="1"/>
      <dgm:spPr/>
      <dgm:t>
        <a:bodyPr/>
        <a:lstStyle/>
        <a:p>
          <a:r>
            <a:rPr lang="es-CO" sz="1200" dirty="0" smtClean="0"/>
            <a:t>INSTITUCIONES DE ALTA CALIDAD</a:t>
          </a:r>
          <a:endParaRPr lang="es-CO" sz="1200" dirty="0"/>
        </a:p>
      </dgm:t>
    </dgm:pt>
    <dgm:pt modelId="{F14FC9B1-6D91-47B9-A1B6-6E93C0617080}" type="parTrans" cxnId="{C8E3F290-D079-46DA-8F23-D968A323EADD}">
      <dgm:prSet/>
      <dgm:spPr/>
      <dgm:t>
        <a:bodyPr/>
        <a:lstStyle/>
        <a:p>
          <a:endParaRPr lang="es-CO"/>
        </a:p>
      </dgm:t>
    </dgm:pt>
    <dgm:pt modelId="{965BA854-3DC6-4F0B-A894-8172798C6035}" type="sibTrans" cxnId="{C8E3F290-D079-46DA-8F23-D968A323EADD}">
      <dgm:prSet/>
      <dgm:spPr/>
      <dgm:t>
        <a:bodyPr/>
        <a:lstStyle/>
        <a:p>
          <a:endParaRPr lang="es-CO"/>
        </a:p>
      </dgm:t>
    </dgm:pt>
    <dgm:pt modelId="{85C0B18E-FCBF-467D-838C-D930E3795688}">
      <dgm:prSet phldrT="[Texto]" custT="1"/>
      <dgm:spPr/>
      <dgm:t>
        <a:bodyPr/>
        <a:lstStyle/>
        <a:p>
          <a:r>
            <a:rPr lang="es-CO" sz="2400" b="1" dirty="0" smtClean="0"/>
            <a:t>MEJORAR CALIDAD Y </a:t>
          </a:r>
        </a:p>
        <a:p>
          <a:r>
            <a:rPr lang="es-CO" sz="2400" b="1" dirty="0" smtClean="0"/>
            <a:t>PERTINENCIA DE LA ETDH</a:t>
          </a:r>
          <a:endParaRPr lang="es-CO" sz="2400" b="1" dirty="0"/>
        </a:p>
      </dgm:t>
    </dgm:pt>
    <dgm:pt modelId="{37BEEA1E-6EFB-4669-9DF8-DE7943D1F10D}" type="parTrans" cxnId="{91CAEE04-0672-493A-B378-1335490820B3}">
      <dgm:prSet/>
      <dgm:spPr/>
      <dgm:t>
        <a:bodyPr/>
        <a:lstStyle/>
        <a:p>
          <a:endParaRPr lang="es-CO"/>
        </a:p>
      </dgm:t>
    </dgm:pt>
    <dgm:pt modelId="{2196842E-81D5-43F0-B57E-15F02B4F9406}" type="sibTrans" cxnId="{91CAEE04-0672-493A-B378-1335490820B3}">
      <dgm:prSet/>
      <dgm:spPr/>
      <dgm:t>
        <a:bodyPr/>
        <a:lstStyle/>
        <a:p>
          <a:endParaRPr lang="es-CO"/>
        </a:p>
      </dgm:t>
    </dgm:pt>
    <dgm:pt modelId="{FDAA2013-8BDD-495E-84FA-AC4D6AED34FF}">
      <dgm:prSet phldrT="[Texto]" custT="1"/>
      <dgm:spPr/>
      <dgm:t>
        <a:bodyPr/>
        <a:lstStyle/>
        <a:p>
          <a:r>
            <a:rPr lang="es-CO" sz="1100" dirty="0" smtClean="0"/>
            <a:t>CALIDAD PROGRAMAS E INSTITUCIONES</a:t>
          </a:r>
          <a:endParaRPr lang="es-CO" sz="1100" dirty="0"/>
        </a:p>
      </dgm:t>
    </dgm:pt>
    <dgm:pt modelId="{346E4FF1-532D-43B7-BC66-39134E944B09}" type="parTrans" cxnId="{37C9ACF6-2DC1-445D-93E8-422D8EF15098}">
      <dgm:prSet/>
      <dgm:spPr/>
      <dgm:t>
        <a:bodyPr/>
        <a:lstStyle/>
        <a:p>
          <a:endParaRPr lang="es-CO"/>
        </a:p>
      </dgm:t>
    </dgm:pt>
    <dgm:pt modelId="{8BCD6BBF-713D-4A10-B705-B62E7E3754B9}" type="sibTrans" cxnId="{37C9ACF6-2DC1-445D-93E8-422D8EF15098}">
      <dgm:prSet/>
      <dgm:spPr/>
      <dgm:t>
        <a:bodyPr/>
        <a:lstStyle/>
        <a:p>
          <a:endParaRPr lang="es-CO"/>
        </a:p>
      </dgm:t>
    </dgm:pt>
    <dgm:pt modelId="{2CDFFE16-ABA3-4D50-B055-0557E9D66CEC}">
      <dgm:prSet phldrT="[Texto]" custT="1"/>
      <dgm:spPr/>
      <dgm:t>
        <a:bodyPr/>
        <a:lstStyle/>
        <a:p>
          <a:r>
            <a:rPr lang="es-CO" sz="1100" dirty="0" smtClean="0"/>
            <a:t>GESTION  INSTITUCIONAL</a:t>
          </a:r>
          <a:endParaRPr lang="es-CO" sz="1100" dirty="0"/>
        </a:p>
      </dgm:t>
    </dgm:pt>
    <dgm:pt modelId="{399D1184-7EA0-4974-93F7-56BC86A81724}" type="parTrans" cxnId="{C65D0C9A-CE54-4E26-B365-112957E08B65}">
      <dgm:prSet/>
      <dgm:spPr/>
      <dgm:t>
        <a:bodyPr/>
        <a:lstStyle/>
        <a:p>
          <a:endParaRPr lang="es-CO"/>
        </a:p>
      </dgm:t>
    </dgm:pt>
    <dgm:pt modelId="{81B4134D-96E3-4EF9-94FF-1FCA9496824D}" type="sibTrans" cxnId="{C65D0C9A-CE54-4E26-B365-112957E08B65}">
      <dgm:prSet/>
      <dgm:spPr/>
      <dgm:t>
        <a:bodyPr/>
        <a:lstStyle/>
        <a:p>
          <a:endParaRPr lang="es-CO"/>
        </a:p>
      </dgm:t>
    </dgm:pt>
    <dgm:pt modelId="{DA88D4E0-F983-4D96-BF41-140A21C5FB47}">
      <dgm:prSet custT="1"/>
      <dgm:spPr/>
      <dgm:t>
        <a:bodyPr/>
        <a:lstStyle/>
        <a:p>
          <a:r>
            <a:rPr lang="es-CO" sz="1100" dirty="0" smtClean="0"/>
            <a:t>ARTICULACIÓN</a:t>
          </a:r>
          <a:endParaRPr lang="es-CO" sz="1100" dirty="0"/>
        </a:p>
      </dgm:t>
    </dgm:pt>
    <dgm:pt modelId="{8EF38D42-FB1E-4A6C-9FE2-3EF0894D865B}" type="parTrans" cxnId="{AF629579-F074-4F53-A0D2-E4B68CE7AB90}">
      <dgm:prSet/>
      <dgm:spPr/>
      <dgm:t>
        <a:bodyPr/>
        <a:lstStyle/>
        <a:p>
          <a:endParaRPr lang="es-CO"/>
        </a:p>
      </dgm:t>
    </dgm:pt>
    <dgm:pt modelId="{CF8C66D3-D0B7-4E3E-AC37-8D46BE53E127}" type="sibTrans" cxnId="{AF629579-F074-4F53-A0D2-E4B68CE7AB90}">
      <dgm:prSet/>
      <dgm:spPr/>
      <dgm:t>
        <a:bodyPr/>
        <a:lstStyle/>
        <a:p>
          <a:endParaRPr lang="es-CO"/>
        </a:p>
      </dgm:t>
    </dgm:pt>
    <dgm:pt modelId="{0A21CA1E-A68F-4AF2-9FF7-5C8DD5D137D2}">
      <dgm:prSet custT="1"/>
      <dgm:spPr/>
      <dgm:t>
        <a:bodyPr/>
        <a:lstStyle/>
        <a:p>
          <a:r>
            <a:rPr lang="es-CO" sz="1100" dirty="0" smtClean="0"/>
            <a:t>ALIANZAS Y TRABJO EN RED</a:t>
          </a:r>
          <a:endParaRPr lang="es-CO" sz="1100" dirty="0"/>
        </a:p>
      </dgm:t>
    </dgm:pt>
    <dgm:pt modelId="{B4F4E81A-E280-48CD-9921-2079FA8EDB16}" type="parTrans" cxnId="{EB2D49E5-8448-46E6-B0F8-5F2AC897A972}">
      <dgm:prSet/>
      <dgm:spPr/>
      <dgm:t>
        <a:bodyPr/>
        <a:lstStyle/>
        <a:p>
          <a:endParaRPr lang="es-CO"/>
        </a:p>
      </dgm:t>
    </dgm:pt>
    <dgm:pt modelId="{4A4ACDF1-2A98-4FCC-8B52-00F2D5D610E6}" type="sibTrans" cxnId="{EB2D49E5-8448-46E6-B0F8-5F2AC897A972}">
      <dgm:prSet/>
      <dgm:spPr/>
      <dgm:t>
        <a:bodyPr/>
        <a:lstStyle/>
        <a:p>
          <a:endParaRPr lang="es-CO"/>
        </a:p>
      </dgm:t>
    </dgm:pt>
    <dgm:pt modelId="{29A2911F-50F0-4B5E-9985-6364EE934DBF}">
      <dgm:prSet custT="1"/>
      <dgm:spPr/>
      <dgm:t>
        <a:bodyPr/>
        <a:lstStyle/>
        <a:p>
          <a:r>
            <a:rPr lang="es-CO" sz="1100" dirty="0" smtClean="0"/>
            <a:t>PERTINENCIA E INNOVACIÓN</a:t>
          </a:r>
          <a:endParaRPr lang="es-CO" sz="1100" dirty="0"/>
        </a:p>
      </dgm:t>
    </dgm:pt>
    <dgm:pt modelId="{3401B1F7-B564-4908-91BA-A31849FB151E}" type="parTrans" cxnId="{6F827D0C-9BD0-49D9-86F3-25A602705454}">
      <dgm:prSet/>
      <dgm:spPr/>
      <dgm:t>
        <a:bodyPr/>
        <a:lstStyle/>
        <a:p>
          <a:endParaRPr lang="es-CO"/>
        </a:p>
      </dgm:t>
    </dgm:pt>
    <dgm:pt modelId="{F062E56D-B759-41A5-98F9-F1FE39183256}" type="sibTrans" cxnId="{6F827D0C-9BD0-49D9-86F3-25A602705454}">
      <dgm:prSet/>
      <dgm:spPr/>
      <dgm:t>
        <a:bodyPr/>
        <a:lstStyle/>
        <a:p>
          <a:endParaRPr lang="es-CO"/>
        </a:p>
      </dgm:t>
    </dgm:pt>
    <dgm:pt modelId="{1EAFD8D1-CFEC-4BA6-A690-BEAE06FEF3BC}">
      <dgm:prSet custT="1"/>
      <dgm:spPr/>
      <dgm:t>
        <a:bodyPr/>
        <a:lstStyle/>
        <a:p>
          <a:r>
            <a:rPr lang="es-CO" sz="1200" dirty="0" smtClean="0"/>
            <a:t>OFERTA POSICIONADA</a:t>
          </a:r>
          <a:endParaRPr lang="es-CO" sz="1200" dirty="0"/>
        </a:p>
      </dgm:t>
    </dgm:pt>
    <dgm:pt modelId="{BFB5C10D-AD76-4385-8ED2-1EB31D246C63}" type="parTrans" cxnId="{4A4020D8-F6D3-43C7-B2E4-D8C7E3127782}">
      <dgm:prSet/>
      <dgm:spPr/>
      <dgm:t>
        <a:bodyPr/>
        <a:lstStyle/>
        <a:p>
          <a:endParaRPr lang="es-CO"/>
        </a:p>
      </dgm:t>
    </dgm:pt>
    <dgm:pt modelId="{48412E2D-2EB4-4B47-9BE6-2DACC6CB5D13}" type="sibTrans" cxnId="{4A4020D8-F6D3-43C7-B2E4-D8C7E3127782}">
      <dgm:prSet/>
      <dgm:spPr/>
      <dgm:t>
        <a:bodyPr/>
        <a:lstStyle/>
        <a:p>
          <a:endParaRPr lang="es-CO"/>
        </a:p>
      </dgm:t>
    </dgm:pt>
    <dgm:pt modelId="{02B5ACE4-20B1-4524-B732-79B95AF7062F}">
      <dgm:prSet custT="1"/>
      <dgm:spPr/>
      <dgm:t>
        <a:bodyPr/>
        <a:lstStyle/>
        <a:p>
          <a:r>
            <a:rPr lang="es-CO" sz="1200" dirty="0" smtClean="0"/>
            <a:t>MARCO NORMATIVO </a:t>
          </a:r>
          <a:endParaRPr lang="es-CO" sz="1200" dirty="0"/>
        </a:p>
      </dgm:t>
    </dgm:pt>
    <dgm:pt modelId="{DEBB5BC9-F5C0-46BE-B086-BF93399A6998}" type="parTrans" cxnId="{9F637018-180D-4045-AEA0-FF4B2F7ACBFB}">
      <dgm:prSet/>
      <dgm:spPr/>
      <dgm:t>
        <a:bodyPr/>
        <a:lstStyle/>
        <a:p>
          <a:endParaRPr lang="es-CO"/>
        </a:p>
      </dgm:t>
    </dgm:pt>
    <dgm:pt modelId="{B158C237-3CCD-4EBD-A840-498CBC48E0CE}" type="sibTrans" cxnId="{9F637018-180D-4045-AEA0-FF4B2F7ACBFB}">
      <dgm:prSet/>
      <dgm:spPr/>
      <dgm:t>
        <a:bodyPr/>
        <a:lstStyle/>
        <a:p>
          <a:endParaRPr lang="es-CO"/>
        </a:p>
      </dgm:t>
    </dgm:pt>
    <dgm:pt modelId="{E2942563-8B4E-4B43-B091-C2707884C782}" type="pres">
      <dgm:prSet presAssocID="{3917FCDC-E054-4D0D-A491-ED4F082202F5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543252F2-4CC4-4CB6-9237-30E35C715DBA}" type="pres">
      <dgm:prSet presAssocID="{3917FCDC-E054-4D0D-A491-ED4F082202F5}" presName="outerBox" presStyleCnt="0"/>
      <dgm:spPr/>
    </dgm:pt>
    <dgm:pt modelId="{B55BBA38-2254-4A59-9E04-DB39C12D15C4}" type="pres">
      <dgm:prSet presAssocID="{3917FCDC-E054-4D0D-A491-ED4F082202F5}" presName="outerBoxParent" presStyleLbl="node1" presStyleIdx="0" presStyleCnt="2"/>
      <dgm:spPr/>
      <dgm:t>
        <a:bodyPr/>
        <a:lstStyle/>
        <a:p>
          <a:endParaRPr lang="es-CO"/>
        </a:p>
      </dgm:t>
    </dgm:pt>
    <dgm:pt modelId="{92D74C4C-6641-4C73-AFD0-F9FDBAA31CB6}" type="pres">
      <dgm:prSet presAssocID="{3917FCDC-E054-4D0D-A491-ED4F082202F5}" presName="outerBoxChildren" presStyleCnt="0"/>
      <dgm:spPr/>
    </dgm:pt>
    <dgm:pt modelId="{6D2B9C93-B706-4F21-AEF6-0B821D696614}" type="pres">
      <dgm:prSet presAssocID="{18CC1DAF-4CEA-4607-A34D-F7292DC0DE62}" presName="oChild" presStyleLbl="fgAcc1" presStyleIdx="0" presStyleCnt="9" custScaleX="11503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29B2E76-D31C-4CC6-AE65-FAAB2FAA565B}" type="pres">
      <dgm:prSet presAssocID="{0CA196D2-5783-4BC6-BCD5-BFF10C663211}" presName="outerSibTrans" presStyleCnt="0"/>
      <dgm:spPr/>
    </dgm:pt>
    <dgm:pt modelId="{49691B06-75CD-423F-9244-B90D7475B158}" type="pres">
      <dgm:prSet presAssocID="{C718C459-46D0-4E8B-A439-BF75E63FC8C7}" presName="oChild" presStyleLbl="fgAcc1" presStyleIdx="1" presStyleCnt="9" custScaleX="115033" custLinFactY="-4854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2962030-2D33-46BE-95C4-19C76EBA281B}" type="pres">
      <dgm:prSet presAssocID="{965BA854-3DC6-4F0B-A894-8172798C6035}" presName="outerSibTrans" presStyleCnt="0"/>
      <dgm:spPr/>
    </dgm:pt>
    <dgm:pt modelId="{7BD0240E-FE3D-4DDF-AF35-823A576EDD09}" type="pres">
      <dgm:prSet presAssocID="{1EAFD8D1-CFEC-4BA6-A690-BEAE06FEF3BC}" presName="oChild" presStyleLbl="fgAcc1" presStyleIdx="2" presStyleCnt="9" custScaleX="115033" custLinFactY="-4854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6FEBAEB-6C42-41CA-8AEF-1B63C57A5601}" type="pres">
      <dgm:prSet presAssocID="{48412E2D-2EB4-4B47-9BE6-2DACC6CB5D13}" presName="outerSibTrans" presStyleCnt="0"/>
      <dgm:spPr/>
    </dgm:pt>
    <dgm:pt modelId="{89D0241D-CD7B-4831-8612-BCDD93D4DE15}" type="pres">
      <dgm:prSet presAssocID="{02B5ACE4-20B1-4524-B732-79B95AF7062F}" presName="oChild" presStyleLbl="fgAcc1" presStyleIdx="3" presStyleCnt="9" custScaleX="115033" custLinFactY="-6293" custLinFactNeighborX="0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AB0DB7D-0E8F-4119-94F4-85D6326E5DED}" type="pres">
      <dgm:prSet presAssocID="{3917FCDC-E054-4D0D-A491-ED4F082202F5}" presName="middleBox" presStyleCnt="0"/>
      <dgm:spPr/>
    </dgm:pt>
    <dgm:pt modelId="{1768406D-E7BE-47AE-9582-D9F65BF85898}" type="pres">
      <dgm:prSet presAssocID="{3917FCDC-E054-4D0D-A491-ED4F082202F5}" presName="middleBoxParent" presStyleLbl="node1" presStyleIdx="1" presStyleCnt="2" custScaleX="98482" custScaleY="87169"/>
      <dgm:spPr/>
      <dgm:t>
        <a:bodyPr/>
        <a:lstStyle/>
        <a:p>
          <a:endParaRPr lang="es-CO"/>
        </a:p>
      </dgm:t>
    </dgm:pt>
    <dgm:pt modelId="{50F27929-8C74-490F-A128-F80047B3D0DF}" type="pres">
      <dgm:prSet presAssocID="{3917FCDC-E054-4D0D-A491-ED4F082202F5}" presName="middleBoxChildren" presStyleCnt="0"/>
      <dgm:spPr/>
    </dgm:pt>
    <dgm:pt modelId="{5F1618FE-93FA-4360-9F26-DC8DD9CD7210}" type="pres">
      <dgm:prSet presAssocID="{FDAA2013-8BDD-495E-84FA-AC4D6AED34FF}" presName="mChild" presStyleLbl="fgAcc1" presStyleIdx="4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F38A27C-45E4-4F8A-A118-845372FFECAA}" type="pres">
      <dgm:prSet presAssocID="{8BCD6BBF-713D-4A10-B705-B62E7E3754B9}" presName="middleSibTrans" presStyleCnt="0"/>
      <dgm:spPr/>
    </dgm:pt>
    <dgm:pt modelId="{4D5A258B-30CD-4733-9875-8FD88A308567}" type="pres">
      <dgm:prSet presAssocID="{2CDFFE16-ABA3-4D50-B055-0557E9D66CEC}" presName="mChild" presStyleLbl="fgAcc1" presStyleIdx="5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3AFA924-0BC9-49A6-86AA-C6CD63444530}" type="pres">
      <dgm:prSet presAssocID="{81B4134D-96E3-4EF9-94FF-1FCA9496824D}" presName="middleSibTrans" presStyleCnt="0"/>
      <dgm:spPr/>
    </dgm:pt>
    <dgm:pt modelId="{46440A11-D612-4E4A-9441-8C8BB3AE3E7A}" type="pres">
      <dgm:prSet presAssocID="{DA88D4E0-F983-4D96-BF41-140A21C5FB47}" presName="mChild" presStyleLbl="fgAcc1" presStyleIdx="6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116F86E-463C-4FE0-8681-EE6E218803BA}" type="pres">
      <dgm:prSet presAssocID="{CF8C66D3-D0B7-4E3E-AC37-8D46BE53E127}" presName="middleSibTrans" presStyleCnt="0"/>
      <dgm:spPr/>
    </dgm:pt>
    <dgm:pt modelId="{38B402E7-FEC9-4991-B47D-2B083A3034F9}" type="pres">
      <dgm:prSet presAssocID="{0A21CA1E-A68F-4AF2-9FF7-5C8DD5D137D2}" presName="mChild" presStyleLbl="fgAcc1" presStyleIdx="7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52B63F3-5317-4725-AB10-6663476FC809}" type="pres">
      <dgm:prSet presAssocID="{4A4ACDF1-2A98-4FCC-8B52-00F2D5D610E6}" presName="middleSibTrans" presStyleCnt="0"/>
      <dgm:spPr/>
    </dgm:pt>
    <dgm:pt modelId="{7B685EA6-707F-4298-B0BD-82CFADECF61D}" type="pres">
      <dgm:prSet presAssocID="{29A2911F-50F0-4B5E-9985-6364EE934DBF}" presName="mChild" presStyleLbl="fgAcc1" presStyleIdx="8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44E02C2-7E59-48F9-8F26-686BAF051B40}" type="presOf" srcId="{85C0B18E-FCBF-467D-838C-D930E3795688}" destId="{1768406D-E7BE-47AE-9582-D9F65BF85898}" srcOrd="0" destOrd="0" presId="urn:microsoft.com/office/officeart/2005/8/layout/target2"/>
    <dgm:cxn modelId="{C8E3F290-D079-46DA-8F23-D968A323EADD}" srcId="{4469965B-D5B0-477D-8E0C-0A92795F79C8}" destId="{C718C459-46D0-4E8B-A439-BF75E63FC8C7}" srcOrd="1" destOrd="0" parTransId="{F14FC9B1-6D91-47B9-A1B6-6E93C0617080}" sibTransId="{965BA854-3DC6-4F0B-A894-8172798C6035}"/>
    <dgm:cxn modelId="{EB2D49E5-8448-46E6-B0F8-5F2AC897A972}" srcId="{85C0B18E-FCBF-467D-838C-D930E3795688}" destId="{0A21CA1E-A68F-4AF2-9FF7-5C8DD5D137D2}" srcOrd="3" destOrd="0" parTransId="{B4F4E81A-E280-48CD-9921-2079FA8EDB16}" sibTransId="{4A4ACDF1-2A98-4FCC-8B52-00F2D5D610E6}"/>
    <dgm:cxn modelId="{6D8DD8CB-CECA-4734-A02E-A0662D9EDB6F}" type="presOf" srcId="{FDAA2013-8BDD-495E-84FA-AC4D6AED34FF}" destId="{5F1618FE-93FA-4360-9F26-DC8DD9CD7210}" srcOrd="0" destOrd="0" presId="urn:microsoft.com/office/officeart/2005/8/layout/target2"/>
    <dgm:cxn modelId="{91CAEE04-0672-493A-B378-1335490820B3}" srcId="{3917FCDC-E054-4D0D-A491-ED4F082202F5}" destId="{85C0B18E-FCBF-467D-838C-D930E3795688}" srcOrd="1" destOrd="0" parTransId="{37BEEA1E-6EFB-4669-9DF8-DE7943D1F10D}" sibTransId="{2196842E-81D5-43F0-B57E-15F02B4F9406}"/>
    <dgm:cxn modelId="{30BA5712-B27C-4447-B531-E84C08E6F6F7}" type="presOf" srcId="{DA88D4E0-F983-4D96-BF41-140A21C5FB47}" destId="{46440A11-D612-4E4A-9441-8C8BB3AE3E7A}" srcOrd="0" destOrd="0" presId="urn:microsoft.com/office/officeart/2005/8/layout/target2"/>
    <dgm:cxn modelId="{4A4020D8-F6D3-43C7-B2E4-D8C7E3127782}" srcId="{4469965B-D5B0-477D-8E0C-0A92795F79C8}" destId="{1EAFD8D1-CFEC-4BA6-A690-BEAE06FEF3BC}" srcOrd="2" destOrd="0" parTransId="{BFB5C10D-AD76-4385-8ED2-1EB31D246C63}" sibTransId="{48412E2D-2EB4-4B47-9BE6-2DACC6CB5D13}"/>
    <dgm:cxn modelId="{A244AA61-8EE8-4158-BCEF-185E1C122F2D}" type="presOf" srcId="{2CDFFE16-ABA3-4D50-B055-0557E9D66CEC}" destId="{4D5A258B-30CD-4733-9875-8FD88A308567}" srcOrd="0" destOrd="0" presId="urn:microsoft.com/office/officeart/2005/8/layout/target2"/>
    <dgm:cxn modelId="{F13482E2-2709-44CD-8E34-377303EE2C94}" type="presOf" srcId="{4469965B-D5B0-477D-8E0C-0A92795F79C8}" destId="{B55BBA38-2254-4A59-9E04-DB39C12D15C4}" srcOrd="0" destOrd="0" presId="urn:microsoft.com/office/officeart/2005/8/layout/target2"/>
    <dgm:cxn modelId="{587685F5-2D82-4C24-936F-045D0087D813}" type="presOf" srcId="{1EAFD8D1-CFEC-4BA6-A690-BEAE06FEF3BC}" destId="{7BD0240E-FE3D-4DDF-AF35-823A576EDD09}" srcOrd="0" destOrd="0" presId="urn:microsoft.com/office/officeart/2005/8/layout/target2"/>
    <dgm:cxn modelId="{084BC60B-5E5B-4199-8821-E8E32759208B}" type="presOf" srcId="{C718C459-46D0-4E8B-A439-BF75E63FC8C7}" destId="{49691B06-75CD-423F-9244-B90D7475B158}" srcOrd="0" destOrd="0" presId="urn:microsoft.com/office/officeart/2005/8/layout/target2"/>
    <dgm:cxn modelId="{4C64CBD9-B575-4B44-925A-29C32FC2554A}" type="presOf" srcId="{18CC1DAF-4CEA-4607-A34D-F7292DC0DE62}" destId="{6D2B9C93-B706-4F21-AEF6-0B821D696614}" srcOrd="0" destOrd="0" presId="urn:microsoft.com/office/officeart/2005/8/layout/target2"/>
    <dgm:cxn modelId="{F4A4A800-DF67-4232-A002-1D2AFDF6CB92}" type="presOf" srcId="{02B5ACE4-20B1-4524-B732-79B95AF7062F}" destId="{89D0241D-CD7B-4831-8612-BCDD93D4DE15}" srcOrd="0" destOrd="0" presId="urn:microsoft.com/office/officeart/2005/8/layout/target2"/>
    <dgm:cxn modelId="{81B51F8F-DA05-401F-8640-F1F1B9573CD1}" type="presOf" srcId="{3917FCDC-E054-4D0D-A491-ED4F082202F5}" destId="{E2942563-8B4E-4B43-B091-C2707884C782}" srcOrd="0" destOrd="0" presId="urn:microsoft.com/office/officeart/2005/8/layout/target2"/>
    <dgm:cxn modelId="{690EFEFD-E7AA-406F-B062-67239B520F5D}" type="presOf" srcId="{29A2911F-50F0-4B5E-9985-6364EE934DBF}" destId="{7B685EA6-707F-4298-B0BD-82CFADECF61D}" srcOrd="0" destOrd="0" presId="urn:microsoft.com/office/officeart/2005/8/layout/target2"/>
    <dgm:cxn modelId="{C65D0C9A-CE54-4E26-B365-112957E08B65}" srcId="{85C0B18E-FCBF-467D-838C-D930E3795688}" destId="{2CDFFE16-ABA3-4D50-B055-0557E9D66CEC}" srcOrd="1" destOrd="0" parTransId="{399D1184-7EA0-4974-93F7-56BC86A81724}" sibTransId="{81B4134D-96E3-4EF9-94FF-1FCA9496824D}"/>
    <dgm:cxn modelId="{D29E7CE6-B5C2-4CFB-8CB7-7A6F7E2D51A2}" srcId="{3917FCDC-E054-4D0D-A491-ED4F082202F5}" destId="{4469965B-D5B0-477D-8E0C-0A92795F79C8}" srcOrd="0" destOrd="0" parTransId="{72DCC20A-530C-4C3C-804F-0F4945B5CEA1}" sibTransId="{73DE955F-14D5-4696-8929-DCAEF1E0F5A4}"/>
    <dgm:cxn modelId="{6F827D0C-9BD0-49D9-86F3-25A602705454}" srcId="{85C0B18E-FCBF-467D-838C-D930E3795688}" destId="{29A2911F-50F0-4B5E-9985-6364EE934DBF}" srcOrd="4" destOrd="0" parTransId="{3401B1F7-B564-4908-91BA-A31849FB151E}" sibTransId="{F062E56D-B759-41A5-98F9-F1FE39183256}"/>
    <dgm:cxn modelId="{AF629579-F074-4F53-A0D2-E4B68CE7AB90}" srcId="{85C0B18E-FCBF-467D-838C-D930E3795688}" destId="{DA88D4E0-F983-4D96-BF41-140A21C5FB47}" srcOrd="2" destOrd="0" parTransId="{8EF38D42-FB1E-4A6C-9FE2-3EF0894D865B}" sibTransId="{CF8C66D3-D0B7-4E3E-AC37-8D46BE53E127}"/>
    <dgm:cxn modelId="{37C9ACF6-2DC1-445D-93E8-422D8EF15098}" srcId="{85C0B18E-FCBF-467D-838C-D930E3795688}" destId="{FDAA2013-8BDD-495E-84FA-AC4D6AED34FF}" srcOrd="0" destOrd="0" parTransId="{346E4FF1-532D-43B7-BC66-39134E944B09}" sibTransId="{8BCD6BBF-713D-4A10-B705-B62E7E3754B9}"/>
    <dgm:cxn modelId="{9F637018-180D-4045-AEA0-FF4B2F7ACBFB}" srcId="{4469965B-D5B0-477D-8E0C-0A92795F79C8}" destId="{02B5ACE4-20B1-4524-B732-79B95AF7062F}" srcOrd="3" destOrd="0" parTransId="{DEBB5BC9-F5C0-46BE-B086-BF93399A6998}" sibTransId="{B158C237-3CCD-4EBD-A840-498CBC48E0CE}"/>
    <dgm:cxn modelId="{8347CD51-98AE-44E0-9B49-7756EFC99AFE}" srcId="{4469965B-D5B0-477D-8E0C-0A92795F79C8}" destId="{18CC1DAF-4CEA-4607-A34D-F7292DC0DE62}" srcOrd="0" destOrd="0" parTransId="{1029091E-AE6F-4EAA-8CE2-860C2D9F7516}" sibTransId="{0CA196D2-5783-4BC6-BCD5-BFF10C663211}"/>
    <dgm:cxn modelId="{B5CF94B4-BB65-4480-8177-3AD0EA4C3ADF}" type="presOf" srcId="{0A21CA1E-A68F-4AF2-9FF7-5C8DD5D137D2}" destId="{38B402E7-FEC9-4991-B47D-2B083A3034F9}" srcOrd="0" destOrd="0" presId="urn:microsoft.com/office/officeart/2005/8/layout/target2"/>
    <dgm:cxn modelId="{9642D947-FF9C-4A30-A731-3AD70CD47A19}" type="presParOf" srcId="{E2942563-8B4E-4B43-B091-C2707884C782}" destId="{543252F2-4CC4-4CB6-9237-30E35C715DBA}" srcOrd="0" destOrd="0" presId="urn:microsoft.com/office/officeart/2005/8/layout/target2"/>
    <dgm:cxn modelId="{C5D650AF-73A7-4B48-AA2E-FFE22F948D29}" type="presParOf" srcId="{543252F2-4CC4-4CB6-9237-30E35C715DBA}" destId="{B55BBA38-2254-4A59-9E04-DB39C12D15C4}" srcOrd="0" destOrd="0" presId="urn:microsoft.com/office/officeart/2005/8/layout/target2"/>
    <dgm:cxn modelId="{6937576D-3B58-4879-9496-30BB8F1FFC38}" type="presParOf" srcId="{543252F2-4CC4-4CB6-9237-30E35C715DBA}" destId="{92D74C4C-6641-4C73-AFD0-F9FDBAA31CB6}" srcOrd="1" destOrd="0" presId="urn:microsoft.com/office/officeart/2005/8/layout/target2"/>
    <dgm:cxn modelId="{68CD16AA-A7B7-4EE8-8C84-D84BF0CBC497}" type="presParOf" srcId="{92D74C4C-6641-4C73-AFD0-F9FDBAA31CB6}" destId="{6D2B9C93-B706-4F21-AEF6-0B821D696614}" srcOrd="0" destOrd="0" presId="urn:microsoft.com/office/officeart/2005/8/layout/target2"/>
    <dgm:cxn modelId="{B25AD4B9-8FF9-4DCF-8B1F-E23702376922}" type="presParOf" srcId="{92D74C4C-6641-4C73-AFD0-F9FDBAA31CB6}" destId="{B29B2E76-D31C-4CC6-AE65-FAAB2FAA565B}" srcOrd="1" destOrd="0" presId="urn:microsoft.com/office/officeart/2005/8/layout/target2"/>
    <dgm:cxn modelId="{251869ED-8758-4DC6-8A90-31FAE6B89D19}" type="presParOf" srcId="{92D74C4C-6641-4C73-AFD0-F9FDBAA31CB6}" destId="{49691B06-75CD-423F-9244-B90D7475B158}" srcOrd="2" destOrd="0" presId="urn:microsoft.com/office/officeart/2005/8/layout/target2"/>
    <dgm:cxn modelId="{4756A5DF-AEA8-44FC-86E2-73217612F256}" type="presParOf" srcId="{92D74C4C-6641-4C73-AFD0-F9FDBAA31CB6}" destId="{F2962030-2D33-46BE-95C4-19C76EBA281B}" srcOrd="3" destOrd="0" presId="urn:microsoft.com/office/officeart/2005/8/layout/target2"/>
    <dgm:cxn modelId="{938D0B33-638B-4713-890B-8DB6927565AE}" type="presParOf" srcId="{92D74C4C-6641-4C73-AFD0-F9FDBAA31CB6}" destId="{7BD0240E-FE3D-4DDF-AF35-823A576EDD09}" srcOrd="4" destOrd="0" presId="urn:microsoft.com/office/officeart/2005/8/layout/target2"/>
    <dgm:cxn modelId="{BF1198D6-A6F6-468B-AEAA-755CCA3AA396}" type="presParOf" srcId="{92D74C4C-6641-4C73-AFD0-F9FDBAA31CB6}" destId="{96FEBAEB-6C42-41CA-8AEF-1B63C57A5601}" srcOrd="5" destOrd="0" presId="urn:microsoft.com/office/officeart/2005/8/layout/target2"/>
    <dgm:cxn modelId="{C01EF6AD-FA56-4DDE-88AC-2C324032E2D0}" type="presParOf" srcId="{92D74C4C-6641-4C73-AFD0-F9FDBAA31CB6}" destId="{89D0241D-CD7B-4831-8612-BCDD93D4DE15}" srcOrd="6" destOrd="0" presId="urn:microsoft.com/office/officeart/2005/8/layout/target2"/>
    <dgm:cxn modelId="{BBD7DA9A-8140-44C7-9BC3-91172CB88C41}" type="presParOf" srcId="{E2942563-8B4E-4B43-B091-C2707884C782}" destId="{0AB0DB7D-0E8F-4119-94F4-85D6326E5DED}" srcOrd="1" destOrd="0" presId="urn:microsoft.com/office/officeart/2005/8/layout/target2"/>
    <dgm:cxn modelId="{43FF9BB5-1CFD-4C27-866E-7D7C8DB0FEEB}" type="presParOf" srcId="{0AB0DB7D-0E8F-4119-94F4-85D6326E5DED}" destId="{1768406D-E7BE-47AE-9582-D9F65BF85898}" srcOrd="0" destOrd="0" presId="urn:microsoft.com/office/officeart/2005/8/layout/target2"/>
    <dgm:cxn modelId="{01D3A0B1-BEBC-4D9D-9BDC-6852DA6A7D40}" type="presParOf" srcId="{0AB0DB7D-0E8F-4119-94F4-85D6326E5DED}" destId="{50F27929-8C74-490F-A128-F80047B3D0DF}" srcOrd="1" destOrd="0" presId="urn:microsoft.com/office/officeart/2005/8/layout/target2"/>
    <dgm:cxn modelId="{0E19C97C-6D7E-49F9-8785-135301AD4C17}" type="presParOf" srcId="{50F27929-8C74-490F-A128-F80047B3D0DF}" destId="{5F1618FE-93FA-4360-9F26-DC8DD9CD7210}" srcOrd="0" destOrd="0" presId="urn:microsoft.com/office/officeart/2005/8/layout/target2"/>
    <dgm:cxn modelId="{4647D1BC-947F-4BFC-9B4C-77105810A0A5}" type="presParOf" srcId="{50F27929-8C74-490F-A128-F80047B3D0DF}" destId="{7F38A27C-45E4-4F8A-A118-845372FFECAA}" srcOrd="1" destOrd="0" presId="urn:microsoft.com/office/officeart/2005/8/layout/target2"/>
    <dgm:cxn modelId="{EECC242E-0A00-49C2-A7EA-24F83F50EFB4}" type="presParOf" srcId="{50F27929-8C74-490F-A128-F80047B3D0DF}" destId="{4D5A258B-30CD-4733-9875-8FD88A308567}" srcOrd="2" destOrd="0" presId="urn:microsoft.com/office/officeart/2005/8/layout/target2"/>
    <dgm:cxn modelId="{04660C5A-01B9-4B1A-9D7A-EDC6AD96A28F}" type="presParOf" srcId="{50F27929-8C74-490F-A128-F80047B3D0DF}" destId="{13AFA924-0BC9-49A6-86AA-C6CD63444530}" srcOrd="3" destOrd="0" presId="urn:microsoft.com/office/officeart/2005/8/layout/target2"/>
    <dgm:cxn modelId="{0E4AE3D6-379C-4E28-847D-0DC2DC360732}" type="presParOf" srcId="{50F27929-8C74-490F-A128-F80047B3D0DF}" destId="{46440A11-D612-4E4A-9441-8C8BB3AE3E7A}" srcOrd="4" destOrd="0" presId="urn:microsoft.com/office/officeart/2005/8/layout/target2"/>
    <dgm:cxn modelId="{EB57E3F4-968B-4473-BAED-4FCC152E902D}" type="presParOf" srcId="{50F27929-8C74-490F-A128-F80047B3D0DF}" destId="{6116F86E-463C-4FE0-8681-EE6E218803BA}" srcOrd="5" destOrd="0" presId="urn:microsoft.com/office/officeart/2005/8/layout/target2"/>
    <dgm:cxn modelId="{346EEBA4-65A0-4EAA-9C48-8B6AFBDEA33B}" type="presParOf" srcId="{50F27929-8C74-490F-A128-F80047B3D0DF}" destId="{38B402E7-FEC9-4991-B47D-2B083A3034F9}" srcOrd="6" destOrd="0" presId="urn:microsoft.com/office/officeart/2005/8/layout/target2"/>
    <dgm:cxn modelId="{8E7F6584-2142-4348-9FCA-C3DD4E3ABCC3}" type="presParOf" srcId="{50F27929-8C74-490F-A128-F80047B3D0DF}" destId="{D52B63F3-5317-4725-AB10-6663476FC809}" srcOrd="7" destOrd="0" presId="urn:microsoft.com/office/officeart/2005/8/layout/target2"/>
    <dgm:cxn modelId="{3B27D406-8BB6-49FC-ADC7-273C7DB6F2E5}" type="presParOf" srcId="{50F27929-8C74-490F-A128-F80047B3D0DF}" destId="{7B685EA6-707F-4298-B0BD-82CFADECF61D}" srcOrd="8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01EC8ED-8B85-4717-87C2-71DC404B135B}" type="doc">
      <dgm:prSet loTypeId="urn:microsoft.com/office/officeart/2005/8/layout/arrow2" loCatId="process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A5A89751-B832-4ACA-9712-12FC72F0F0C7}">
      <dgm:prSet phldrT="[Texto]" custT="1"/>
      <dgm:spPr/>
      <dgm:t>
        <a:bodyPr/>
        <a:lstStyle/>
        <a:p>
          <a:r>
            <a:rPr lang="es-CO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es-CO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</a:t>
          </a:r>
          <a:r>
            <a:rPr lang="es-MX" sz="1200" b="1" i="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eferentes y  criterios para evaluar las condiciones de calidad </a:t>
          </a:r>
          <a:endParaRPr lang="es-CO" sz="12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2A1079B-9891-4EB8-8A73-62F616E10C6C}" type="par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8C701F0D-D9FD-4EB9-9B9F-2FEDB9C420C5}" type="sibTrans" cxnId="{61886885-1F12-43BD-B1B5-97477FC8CF79}">
      <dgm:prSet/>
      <dgm:spPr/>
      <dgm:t>
        <a:bodyPr/>
        <a:lstStyle/>
        <a:p>
          <a:endParaRPr lang="es-CO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83892E6-970A-EE4C-86AC-8BEBC36C5777}">
      <dgm:prSet phldrT="[Texto]" custT="1"/>
      <dgm:spPr/>
      <dgm:t>
        <a:bodyPr/>
        <a:lstStyle/>
        <a:p>
          <a:r>
            <a:rPr lang="es-CO" sz="1200" b="1" i="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Modelo de Gestión  en ET  para el nuevo Modelo  de CALIDA de la ETDH</a:t>
          </a:r>
          <a:r>
            <a:rPr lang="es-ES" sz="1200" b="1" i="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200" b="1" i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59AC11C-C276-5340-8EF2-404C067DEBB8}" type="par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16897AE-D98E-0947-9650-12481B3CB4F5}" type="sibTrans" cxnId="{F0ED2CE7-FF78-1B4E-9BD8-AF22E3C68CFE}">
      <dgm:prSet/>
      <dgm:spPr/>
      <dgm:t>
        <a:bodyPr/>
        <a:lstStyle/>
        <a:p>
          <a:endParaRPr lang="es-ES_tradnl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5C72A85-34D9-4EE2-A3F8-1F440D8760F2}">
      <dgm:prSet custT="1"/>
      <dgm:spPr/>
      <dgm:t>
        <a:bodyPr/>
        <a:lstStyle/>
        <a:p>
          <a:r>
            <a:rPr lang="es-ES" sz="1200" b="1" i="0" dirty="0" smtClean="0">
              <a:solidFill>
                <a:schemeClr val="tx1">
                  <a:lumMod val="75000"/>
                  <a:lumOff val="25000"/>
                </a:schemeClr>
              </a:solidFill>
              <a:latin typeface="Arial MT"/>
              <a:ea typeface="Arial Unicode MS" pitchFamily="34" charset="-128"/>
              <a:cs typeface="Arial Unicode MS" pitchFamily="34" charset="-128"/>
            </a:rPr>
            <a:t>Sistema de Información para el aseguramiento de calidad de SACET</a:t>
          </a:r>
          <a:endParaRPr lang="es-CO" sz="1200" b="1" i="0" dirty="0"/>
        </a:p>
      </dgm:t>
    </dgm:pt>
    <dgm:pt modelId="{6A7FA7A8-9999-4863-ACF5-FC3AB290B0B7}" type="parTrans" cxnId="{5B12C87D-48F3-426C-85AE-FF93E24A9935}">
      <dgm:prSet/>
      <dgm:spPr/>
      <dgm:t>
        <a:bodyPr/>
        <a:lstStyle/>
        <a:p>
          <a:endParaRPr lang="es-CO"/>
        </a:p>
      </dgm:t>
    </dgm:pt>
    <dgm:pt modelId="{5AF9C278-DC6A-4836-A7A9-0703CF2C219D}" type="sibTrans" cxnId="{5B12C87D-48F3-426C-85AE-FF93E24A9935}">
      <dgm:prSet/>
      <dgm:spPr/>
      <dgm:t>
        <a:bodyPr/>
        <a:lstStyle/>
        <a:p>
          <a:endParaRPr lang="es-CO"/>
        </a:p>
      </dgm:t>
    </dgm:pt>
    <dgm:pt modelId="{77FDCB65-21C2-447E-B44F-F06F0E2941D0}">
      <dgm:prSet phldrT="[Texto]" custT="1"/>
      <dgm:spPr/>
      <dgm:t>
        <a:bodyPr/>
        <a:lstStyle/>
        <a:p>
          <a:r>
            <a:rPr lang="es-CO" sz="1200" b="1" i="0" dirty="0" smtClean="0">
              <a:latin typeface="Arial" pitchFamily="34" charset="0"/>
              <a:cs typeface="Arial" pitchFamily="34" charset="0"/>
            </a:rPr>
            <a:t>Modelo integrado de sistemas de aseguramiento de la calidad</a:t>
          </a:r>
          <a:endParaRPr lang="es-CO" sz="1200" b="1" i="0" dirty="0">
            <a:latin typeface="Arial" pitchFamily="34" charset="0"/>
            <a:cs typeface="Arial" pitchFamily="34" charset="0"/>
          </a:endParaRPr>
        </a:p>
      </dgm:t>
    </dgm:pt>
    <dgm:pt modelId="{104E86B1-C3CF-4704-A68E-94D386A6790A}" type="parTrans" cxnId="{CC02734A-66DA-4BBD-9AA0-392D0B9153BB}">
      <dgm:prSet/>
      <dgm:spPr/>
      <dgm:t>
        <a:bodyPr/>
        <a:lstStyle/>
        <a:p>
          <a:endParaRPr lang="es-ES"/>
        </a:p>
      </dgm:t>
    </dgm:pt>
    <dgm:pt modelId="{0F8227C5-E9B4-4490-AA8A-251564437573}" type="sibTrans" cxnId="{CC02734A-66DA-4BBD-9AA0-392D0B9153BB}">
      <dgm:prSet/>
      <dgm:spPr/>
      <dgm:t>
        <a:bodyPr/>
        <a:lstStyle/>
        <a:p>
          <a:endParaRPr lang="es-ES"/>
        </a:p>
      </dgm:t>
    </dgm:pt>
    <dgm:pt modelId="{D538E9C8-22D0-496D-AE88-F40A6CA0CA9E}">
      <dgm:prSet/>
      <dgm:spPr>
        <a:solidFill>
          <a:schemeClr val="accent3">
            <a:lumMod val="40000"/>
            <a:lumOff val="6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s-CO" b="1" dirty="0" smtClean="0"/>
            <a:t>Implementación Modelo de Aseguramiento de Calidad</a:t>
          </a:r>
          <a:endParaRPr lang="es-CO" b="1" dirty="0"/>
        </a:p>
      </dgm:t>
    </dgm:pt>
    <dgm:pt modelId="{951752A9-4C4E-4A36-9AE5-89927A1E0BCB}" type="parTrans" cxnId="{5B21C8CE-FCE1-4030-BC77-A453A2B64A50}">
      <dgm:prSet/>
      <dgm:spPr/>
      <dgm:t>
        <a:bodyPr/>
        <a:lstStyle/>
        <a:p>
          <a:endParaRPr lang="es-CO"/>
        </a:p>
      </dgm:t>
    </dgm:pt>
    <dgm:pt modelId="{80DD999D-31D7-4544-BEF4-5919F5BD5E7F}" type="sibTrans" cxnId="{5B21C8CE-FCE1-4030-BC77-A453A2B64A50}">
      <dgm:prSet/>
      <dgm:spPr/>
      <dgm:t>
        <a:bodyPr/>
        <a:lstStyle/>
        <a:p>
          <a:endParaRPr lang="es-CO"/>
        </a:p>
      </dgm:t>
    </dgm:pt>
    <dgm:pt modelId="{62C72970-C823-4F88-A4DE-713A87B4AF4F}" type="pres">
      <dgm:prSet presAssocID="{001EC8ED-8B85-4717-87C2-71DC404B135B}" presName="arrowDiagram" presStyleCnt="0">
        <dgm:presLayoutVars>
          <dgm:chMax val="5"/>
          <dgm:dir val="rev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06BA77A-8CC4-4500-B01A-7AEBE3488E5B}" type="pres">
      <dgm:prSet presAssocID="{001EC8ED-8B85-4717-87C2-71DC404B135B}" presName="arrow" presStyleLbl="bgShp" presStyleIdx="0" presStyleCnt="1" custLinFactNeighborX="-7831" custLinFactNeighborY="-1852"/>
      <dgm:spPr/>
    </dgm:pt>
    <dgm:pt modelId="{737C6551-20EB-4E9C-A464-6F7AE2E52FC3}" type="pres">
      <dgm:prSet presAssocID="{001EC8ED-8B85-4717-87C2-71DC404B135B}" presName="arrowDiagram5" presStyleCnt="0"/>
      <dgm:spPr/>
    </dgm:pt>
    <dgm:pt modelId="{5EE7D7DC-EB20-4648-A417-503A5B97A4AE}" type="pres">
      <dgm:prSet presAssocID="{A5A89751-B832-4ACA-9712-12FC72F0F0C7}" presName="bullet5a" presStyleLbl="node1" presStyleIdx="0" presStyleCnt="5"/>
      <dgm:spPr/>
    </dgm:pt>
    <dgm:pt modelId="{EA040EAF-6984-48B3-A4A3-49658BBA28F9}" type="pres">
      <dgm:prSet presAssocID="{A5A89751-B832-4ACA-9712-12FC72F0F0C7}" presName="textBox5a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B1539F1-9BCA-46C2-AB17-8D3CF35159B5}" type="pres">
      <dgm:prSet presAssocID="{F83892E6-970A-EE4C-86AC-8BEBC36C5777}" presName="bullet5b" presStyleLbl="node1" presStyleIdx="1" presStyleCnt="5"/>
      <dgm:spPr/>
    </dgm:pt>
    <dgm:pt modelId="{10DCE49C-AF8D-40B0-85D3-129E54A78282}" type="pres">
      <dgm:prSet presAssocID="{F83892E6-970A-EE4C-86AC-8BEBC36C5777}" presName="textBox5b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E918572-CCD7-4214-9EE4-84149A104B21}" type="pres">
      <dgm:prSet presAssocID="{77FDCB65-21C2-447E-B44F-F06F0E2941D0}" presName="bullet5c" presStyleLbl="node1" presStyleIdx="2" presStyleCnt="5"/>
      <dgm:spPr/>
    </dgm:pt>
    <dgm:pt modelId="{4063595D-3806-4844-9889-1FA477F4B0ED}" type="pres">
      <dgm:prSet presAssocID="{77FDCB65-21C2-447E-B44F-F06F0E2941D0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0BD20C1-3523-48BA-97C2-5B1C50F670EF}" type="pres">
      <dgm:prSet presAssocID="{B5C72A85-34D9-4EE2-A3F8-1F440D8760F2}" presName="bullet5d" presStyleLbl="node1" presStyleIdx="3" presStyleCnt="5"/>
      <dgm:spPr/>
    </dgm:pt>
    <dgm:pt modelId="{1ED98381-C076-444D-9605-9ED14344C266}" type="pres">
      <dgm:prSet presAssocID="{B5C72A85-34D9-4EE2-A3F8-1F440D8760F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3C28202-4A26-466A-B8B7-A89374D6B904}" type="pres">
      <dgm:prSet presAssocID="{D538E9C8-22D0-496D-AE88-F40A6CA0CA9E}" presName="bullet5e" presStyleLbl="node1" presStyleIdx="4" presStyleCnt="5"/>
      <dgm:spPr/>
    </dgm:pt>
    <dgm:pt modelId="{C6BF9D7D-3F38-4794-8093-8858654CF668}" type="pres">
      <dgm:prSet presAssocID="{D538E9C8-22D0-496D-AE88-F40A6CA0CA9E}" presName="textBox5e" presStyleLbl="revTx" presStyleIdx="4" presStyleCnt="5" custScaleY="6666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F6D9B7D9-3EA7-432C-8674-6FCEEC4BFEE6}" type="presOf" srcId="{001EC8ED-8B85-4717-87C2-71DC404B135B}" destId="{62C72970-C823-4F88-A4DE-713A87B4AF4F}" srcOrd="0" destOrd="0" presId="urn:microsoft.com/office/officeart/2005/8/layout/arrow2"/>
    <dgm:cxn modelId="{EFCE932A-4FE9-43EA-9311-C75E49378638}" type="presOf" srcId="{B5C72A85-34D9-4EE2-A3F8-1F440D8760F2}" destId="{1ED98381-C076-444D-9605-9ED14344C266}" srcOrd="0" destOrd="0" presId="urn:microsoft.com/office/officeart/2005/8/layout/arrow2"/>
    <dgm:cxn modelId="{F61A6501-A953-4287-AB24-333C2595119A}" type="presOf" srcId="{F83892E6-970A-EE4C-86AC-8BEBC36C5777}" destId="{10DCE49C-AF8D-40B0-85D3-129E54A78282}" srcOrd="0" destOrd="0" presId="urn:microsoft.com/office/officeart/2005/8/layout/arrow2"/>
    <dgm:cxn modelId="{F0ED2CE7-FF78-1B4E-9BD8-AF22E3C68CFE}" srcId="{001EC8ED-8B85-4717-87C2-71DC404B135B}" destId="{F83892E6-970A-EE4C-86AC-8BEBC36C5777}" srcOrd="1" destOrd="0" parTransId="{A59AC11C-C276-5340-8EF2-404C067DEBB8}" sibTransId="{B16897AE-D98E-0947-9650-12481B3CB4F5}"/>
    <dgm:cxn modelId="{C329B45A-361B-4F4C-BA51-18FBC4B72703}" type="presOf" srcId="{77FDCB65-21C2-447E-B44F-F06F0E2941D0}" destId="{4063595D-3806-4844-9889-1FA477F4B0ED}" srcOrd="0" destOrd="0" presId="urn:microsoft.com/office/officeart/2005/8/layout/arrow2"/>
    <dgm:cxn modelId="{5B12C87D-48F3-426C-85AE-FF93E24A9935}" srcId="{001EC8ED-8B85-4717-87C2-71DC404B135B}" destId="{B5C72A85-34D9-4EE2-A3F8-1F440D8760F2}" srcOrd="3" destOrd="0" parTransId="{6A7FA7A8-9999-4863-ACF5-FC3AB290B0B7}" sibTransId="{5AF9C278-DC6A-4836-A7A9-0703CF2C219D}"/>
    <dgm:cxn modelId="{FBFD42EA-AAF4-4FE5-875E-AB17782AB867}" type="presOf" srcId="{A5A89751-B832-4ACA-9712-12FC72F0F0C7}" destId="{EA040EAF-6984-48B3-A4A3-49658BBA28F9}" srcOrd="0" destOrd="0" presId="urn:microsoft.com/office/officeart/2005/8/layout/arrow2"/>
    <dgm:cxn modelId="{61886885-1F12-43BD-B1B5-97477FC8CF79}" srcId="{001EC8ED-8B85-4717-87C2-71DC404B135B}" destId="{A5A89751-B832-4ACA-9712-12FC72F0F0C7}" srcOrd="0" destOrd="0" parTransId="{22A1079B-9891-4EB8-8A73-62F616E10C6C}" sibTransId="{8C701F0D-D9FD-4EB9-9B9F-2FEDB9C420C5}"/>
    <dgm:cxn modelId="{CC02734A-66DA-4BBD-9AA0-392D0B9153BB}" srcId="{001EC8ED-8B85-4717-87C2-71DC404B135B}" destId="{77FDCB65-21C2-447E-B44F-F06F0E2941D0}" srcOrd="2" destOrd="0" parTransId="{104E86B1-C3CF-4704-A68E-94D386A6790A}" sibTransId="{0F8227C5-E9B4-4490-AA8A-251564437573}"/>
    <dgm:cxn modelId="{43863371-6282-4653-9341-93C673369F1C}" type="presOf" srcId="{D538E9C8-22D0-496D-AE88-F40A6CA0CA9E}" destId="{C6BF9D7D-3F38-4794-8093-8858654CF668}" srcOrd="0" destOrd="0" presId="urn:microsoft.com/office/officeart/2005/8/layout/arrow2"/>
    <dgm:cxn modelId="{5B21C8CE-FCE1-4030-BC77-A453A2B64A50}" srcId="{001EC8ED-8B85-4717-87C2-71DC404B135B}" destId="{D538E9C8-22D0-496D-AE88-F40A6CA0CA9E}" srcOrd="4" destOrd="0" parTransId="{951752A9-4C4E-4A36-9AE5-89927A1E0BCB}" sibTransId="{80DD999D-31D7-4544-BEF4-5919F5BD5E7F}"/>
    <dgm:cxn modelId="{350F17FE-8D67-464F-A789-79E5BF869F79}" type="presParOf" srcId="{62C72970-C823-4F88-A4DE-713A87B4AF4F}" destId="{F06BA77A-8CC4-4500-B01A-7AEBE3488E5B}" srcOrd="0" destOrd="0" presId="urn:microsoft.com/office/officeart/2005/8/layout/arrow2"/>
    <dgm:cxn modelId="{6BAE0FE9-3A17-44CD-A855-6E8F75F2BA35}" type="presParOf" srcId="{62C72970-C823-4F88-A4DE-713A87B4AF4F}" destId="{737C6551-20EB-4E9C-A464-6F7AE2E52FC3}" srcOrd="1" destOrd="0" presId="urn:microsoft.com/office/officeart/2005/8/layout/arrow2"/>
    <dgm:cxn modelId="{C8665F88-BF59-4224-9ED8-C3FC63DDC44C}" type="presParOf" srcId="{737C6551-20EB-4E9C-A464-6F7AE2E52FC3}" destId="{5EE7D7DC-EB20-4648-A417-503A5B97A4AE}" srcOrd="0" destOrd="0" presId="urn:microsoft.com/office/officeart/2005/8/layout/arrow2"/>
    <dgm:cxn modelId="{ACABB046-1478-4940-9104-512BCCFCA592}" type="presParOf" srcId="{737C6551-20EB-4E9C-A464-6F7AE2E52FC3}" destId="{EA040EAF-6984-48B3-A4A3-49658BBA28F9}" srcOrd="1" destOrd="0" presId="urn:microsoft.com/office/officeart/2005/8/layout/arrow2"/>
    <dgm:cxn modelId="{189DA8C3-D642-466B-8022-7C0AA034F95F}" type="presParOf" srcId="{737C6551-20EB-4E9C-A464-6F7AE2E52FC3}" destId="{3B1539F1-9BCA-46C2-AB17-8D3CF35159B5}" srcOrd="2" destOrd="0" presId="urn:microsoft.com/office/officeart/2005/8/layout/arrow2"/>
    <dgm:cxn modelId="{3161924A-0537-4A6C-B920-49100B10FC42}" type="presParOf" srcId="{737C6551-20EB-4E9C-A464-6F7AE2E52FC3}" destId="{10DCE49C-AF8D-40B0-85D3-129E54A78282}" srcOrd="3" destOrd="0" presId="urn:microsoft.com/office/officeart/2005/8/layout/arrow2"/>
    <dgm:cxn modelId="{6E409F86-0223-4319-A421-F2424125970F}" type="presParOf" srcId="{737C6551-20EB-4E9C-A464-6F7AE2E52FC3}" destId="{9E918572-CCD7-4214-9EE4-84149A104B21}" srcOrd="4" destOrd="0" presId="urn:microsoft.com/office/officeart/2005/8/layout/arrow2"/>
    <dgm:cxn modelId="{737EA7ED-8A09-4935-ABA5-AE0FA1330418}" type="presParOf" srcId="{737C6551-20EB-4E9C-A464-6F7AE2E52FC3}" destId="{4063595D-3806-4844-9889-1FA477F4B0ED}" srcOrd="5" destOrd="0" presId="urn:microsoft.com/office/officeart/2005/8/layout/arrow2"/>
    <dgm:cxn modelId="{BA433539-24BC-49FF-91F8-3FE0B0A298AB}" type="presParOf" srcId="{737C6551-20EB-4E9C-A464-6F7AE2E52FC3}" destId="{A0BD20C1-3523-48BA-97C2-5B1C50F670EF}" srcOrd="6" destOrd="0" presId="urn:microsoft.com/office/officeart/2005/8/layout/arrow2"/>
    <dgm:cxn modelId="{830F3528-FA39-4E28-89A9-2E6BFFA1244F}" type="presParOf" srcId="{737C6551-20EB-4E9C-A464-6F7AE2E52FC3}" destId="{1ED98381-C076-444D-9605-9ED14344C266}" srcOrd="7" destOrd="0" presId="urn:microsoft.com/office/officeart/2005/8/layout/arrow2"/>
    <dgm:cxn modelId="{FE9C8DB4-0F11-49F9-A158-A3386F60655C}" type="presParOf" srcId="{737C6551-20EB-4E9C-A464-6F7AE2E52FC3}" destId="{63C28202-4A26-466A-B8B7-A89374D6B904}" srcOrd="8" destOrd="0" presId="urn:microsoft.com/office/officeart/2005/8/layout/arrow2"/>
    <dgm:cxn modelId="{D0007B94-8818-4C23-94C4-9E8EC48B7B0C}" type="presParOf" srcId="{737C6551-20EB-4E9C-A464-6F7AE2E52FC3}" destId="{C6BF9D7D-3F38-4794-8093-8858654CF668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26C4A32-26E5-4629-9D88-1162318419E4}" type="doc">
      <dgm:prSet loTypeId="urn:diagrams.loki3.com/BracketList+Icon" loCatId="list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64469A7-2962-4514-AE1B-48CAD74B89F5}">
      <dgm:prSet phldrT="[Texto]"/>
      <dgm:spPr/>
      <dgm:t>
        <a:bodyPr/>
        <a:lstStyle/>
        <a:p>
          <a:pPr algn="ctr"/>
          <a:r>
            <a:rPr lang="es-CO" dirty="0" smtClean="0"/>
            <a:t>Ubicación de la oferta</a:t>
          </a:r>
          <a:endParaRPr lang="es-CO" dirty="0"/>
        </a:p>
      </dgm:t>
    </dgm:pt>
    <dgm:pt modelId="{0F211821-030A-4EBD-B54E-3554C274DEE9}" type="parTrans" cxnId="{B6CE68F1-354D-48AA-A353-4D7206C14F10}">
      <dgm:prSet/>
      <dgm:spPr/>
      <dgm:t>
        <a:bodyPr/>
        <a:lstStyle/>
        <a:p>
          <a:endParaRPr lang="es-CO"/>
        </a:p>
      </dgm:t>
    </dgm:pt>
    <dgm:pt modelId="{7241934F-60BE-4D04-8C7C-C96DD0962BBB}" type="sibTrans" cxnId="{B6CE68F1-354D-48AA-A353-4D7206C14F10}">
      <dgm:prSet/>
      <dgm:spPr/>
      <dgm:t>
        <a:bodyPr/>
        <a:lstStyle/>
        <a:p>
          <a:endParaRPr lang="es-CO"/>
        </a:p>
      </dgm:t>
    </dgm:pt>
    <dgm:pt modelId="{35DA1D30-9EC9-4EBE-9C91-9A643D32F9F5}">
      <dgm:prSet phldrT="[Texto]"/>
      <dgm:spPr/>
      <dgm:t>
        <a:bodyPr/>
        <a:lstStyle/>
        <a:p>
          <a:r>
            <a:rPr lang="es-CO" dirty="0" smtClean="0"/>
            <a:t>Alternativo a la educación superior. </a:t>
          </a:r>
          <a:endParaRPr lang="es-CO" dirty="0"/>
        </a:p>
      </dgm:t>
    </dgm:pt>
    <dgm:pt modelId="{549E60F3-BDB3-4FC6-A633-90881DA1F755}" type="parTrans" cxnId="{379FA818-B5AE-4FB7-BEAB-8D5D84F6B6B4}">
      <dgm:prSet/>
      <dgm:spPr/>
      <dgm:t>
        <a:bodyPr/>
        <a:lstStyle/>
        <a:p>
          <a:endParaRPr lang="es-CO"/>
        </a:p>
      </dgm:t>
    </dgm:pt>
    <dgm:pt modelId="{B99AD4D2-DC8D-441A-8483-3605EF280F8B}" type="sibTrans" cxnId="{379FA818-B5AE-4FB7-BEAB-8D5D84F6B6B4}">
      <dgm:prSet/>
      <dgm:spPr/>
      <dgm:t>
        <a:bodyPr/>
        <a:lstStyle/>
        <a:p>
          <a:endParaRPr lang="es-CO"/>
        </a:p>
      </dgm:t>
    </dgm:pt>
    <dgm:pt modelId="{51987483-877F-4768-8A56-8A26B0A33A8B}">
      <dgm:prSet phldrT="[Texto]"/>
      <dgm:spPr/>
      <dgm:t>
        <a:bodyPr/>
        <a:lstStyle/>
        <a:p>
          <a:pPr algn="ctr"/>
          <a:r>
            <a:rPr lang="es-CO" dirty="0" smtClean="0"/>
            <a:t>Modelos de formación</a:t>
          </a:r>
          <a:endParaRPr lang="es-CO" dirty="0"/>
        </a:p>
      </dgm:t>
    </dgm:pt>
    <dgm:pt modelId="{C0C38A25-F317-48A5-9213-A82F9BC63CD6}" type="parTrans" cxnId="{7EFE9324-5B8F-4A6F-BF04-08BD24C72182}">
      <dgm:prSet/>
      <dgm:spPr/>
      <dgm:t>
        <a:bodyPr/>
        <a:lstStyle/>
        <a:p>
          <a:endParaRPr lang="es-CO"/>
        </a:p>
      </dgm:t>
    </dgm:pt>
    <dgm:pt modelId="{D029B079-DB6B-4379-B273-7C146FE0EEA6}" type="sibTrans" cxnId="{7EFE9324-5B8F-4A6F-BF04-08BD24C72182}">
      <dgm:prSet/>
      <dgm:spPr/>
      <dgm:t>
        <a:bodyPr/>
        <a:lstStyle/>
        <a:p>
          <a:endParaRPr lang="es-CO"/>
        </a:p>
      </dgm:t>
    </dgm:pt>
    <dgm:pt modelId="{9020ABD2-8684-4F92-A44E-D8BE295BEAEA}">
      <dgm:prSet phldrT="[Texto]"/>
      <dgm:spPr/>
      <dgm:t>
        <a:bodyPr/>
        <a:lstStyle/>
        <a:p>
          <a:r>
            <a:rPr lang="es-CO" smtClean="0"/>
            <a:t>Competencias vocacionales para la vida y para el crecimiento económico.</a:t>
          </a:r>
          <a:endParaRPr lang="es-CO" dirty="0"/>
        </a:p>
      </dgm:t>
    </dgm:pt>
    <dgm:pt modelId="{E231F7FC-3965-40DA-9129-486763F527B7}" type="parTrans" cxnId="{C155F778-5E34-40BA-BD44-29F2AE958725}">
      <dgm:prSet/>
      <dgm:spPr/>
      <dgm:t>
        <a:bodyPr/>
        <a:lstStyle/>
        <a:p>
          <a:endParaRPr lang="es-CO"/>
        </a:p>
      </dgm:t>
    </dgm:pt>
    <dgm:pt modelId="{05C0A864-B1E8-4E23-AD3F-4E9FA62A70F8}" type="sibTrans" cxnId="{C155F778-5E34-40BA-BD44-29F2AE958725}">
      <dgm:prSet/>
      <dgm:spPr/>
      <dgm:t>
        <a:bodyPr/>
        <a:lstStyle/>
        <a:p>
          <a:endParaRPr lang="es-CO"/>
        </a:p>
      </dgm:t>
    </dgm:pt>
    <dgm:pt modelId="{5046C097-F008-4900-AF43-B9FC689E4D3A}">
      <dgm:prSet phldrT="[Texto]"/>
      <dgm:spPr/>
      <dgm:t>
        <a:bodyPr/>
        <a:lstStyle/>
        <a:p>
          <a:r>
            <a:rPr lang="es-CO" smtClean="0"/>
            <a:t>Educación a lo largo de la vida.</a:t>
          </a:r>
          <a:endParaRPr lang="es-CO" dirty="0"/>
        </a:p>
      </dgm:t>
    </dgm:pt>
    <dgm:pt modelId="{A1559C33-1F41-4235-BD4A-17B4A6630E40}" type="parTrans" cxnId="{1FC4EEAB-CE54-40B6-B5A7-195562FD4C33}">
      <dgm:prSet/>
      <dgm:spPr/>
      <dgm:t>
        <a:bodyPr/>
        <a:lstStyle/>
        <a:p>
          <a:endParaRPr lang="es-CO"/>
        </a:p>
      </dgm:t>
    </dgm:pt>
    <dgm:pt modelId="{550B6952-6583-4CD1-8280-353350B4CE74}" type="sibTrans" cxnId="{1FC4EEAB-CE54-40B6-B5A7-195562FD4C33}">
      <dgm:prSet/>
      <dgm:spPr/>
      <dgm:t>
        <a:bodyPr/>
        <a:lstStyle/>
        <a:p>
          <a:endParaRPr lang="es-CO"/>
        </a:p>
      </dgm:t>
    </dgm:pt>
    <dgm:pt modelId="{1F9DD779-B3BD-4AA0-AB13-C38650497F17}">
      <dgm:prSet phldrT="[Texto]"/>
      <dgm:spPr/>
      <dgm:t>
        <a:bodyPr/>
        <a:lstStyle/>
        <a:p>
          <a:pPr algn="ctr"/>
          <a:r>
            <a:rPr lang="es-CO" dirty="0" smtClean="0"/>
            <a:t>Población objetivo</a:t>
          </a:r>
          <a:endParaRPr lang="es-CO" dirty="0"/>
        </a:p>
      </dgm:t>
    </dgm:pt>
    <dgm:pt modelId="{DFA3DED5-4C55-44FA-81F7-4696CEA92428}" type="parTrans" cxnId="{0B8A280E-DA91-46CC-B22E-2E2E65536E72}">
      <dgm:prSet/>
      <dgm:spPr/>
      <dgm:t>
        <a:bodyPr/>
        <a:lstStyle/>
        <a:p>
          <a:endParaRPr lang="es-CO"/>
        </a:p>
      </dgm:t>
    </dgm:pt>
    <dgm:pt modelId="{7A8DC637-E2FC-4171-AF82-97293C88AB29}" type="sibTrans" cxnId="{0B8A280E-DA91-46CC-B22E-2E2E65536E72}">
      <dgm:prSet/>
      <dgm:spPr/>
      <dgm:t>
        <a:bodyPr/>
        <a:lstStyle/>
        <a:p>
          <a:endParaRPr lang="es-CO"/>
        </a:p>
      </dgm:t>
    </dgm:pt>
    <dgm:pt modelId="{42E7FC2D-2B7E-43CA-A15D-5F66FCAB0376}">
      <dgm:prSet phldrT="[Texto]"/>
      <dgm:spPr/>
      <dgm:t>
        <a:bodyPr/>
        <a:lstStyle/>
        <a:p>
          <a:r>
            <a:rPr lang="es-CO" smtClean="0"/>
            <a:t>Adolescentes y adultos.</a:t>
          </a:r>
          <a:endParaRPr lang="es-CO" dirty="0"/>
        </a:p>
      </dgm:t>
    </dgm:pt>
    <dgm:pt modelId="{6FF8BA45-6649-4B68-8C29-48F3C40B2F52}" type="parTrans" cxnId="{371C32F8-16A1-4B62-8EFC-F00A7EC5208E}">
      <dgm:prSet/>
      <dgm:spPr/>
      <dgm:t>
        <a:bodyPr/>
        <a:lstStyle/>
        <a:p>
          <a:endParaRPr lang="es-CO"/>
        </a:p>
      </dgm:t>
    </dgm:pt>
    <dgm:pt modelId="{48EC2E3B-324A-48F1-A2EA-DEBB63BB0A6C}" type="sibTrans" cxnId="{371C32F8-16A1-4B62-8EFC-F00A7EC5208E}">
      <dgm:prSet/>
      <dgm:spPr/>
      <dgm:t>
        <a:bodyPr/>
        <a:lstStyle/>
        <a:p>
          <a:endParaRPr lang="es-CO"/>
        </a:p>
      </dgm:t>
    </dgm:pt>
    <dgm:pt modelId="{0ADB959F-9F28-45C2-A672-7ED00D86DF70}">
      <dgm:prSet phldrT="[Texto]"/>
      <dgm:spPr/>
      <dgm:t>
        <a:bodyPr/>
        <a:lstStyle/>
        <a:p>
          <a:pPr algn="ctr"/>
          <a:r>
            <a:rPr lang="es-CO" dirty="0" smtClean="0"/>
            <a:t>Entidad encargada</a:t>
          </a:r>
          <a:endParaRPr lang="es-CO" dirty="0"/>
        </a:p>
      </dgm:t>
    </dgm:pt>
    <dgm:pt modelId="{69B77398-2D68-4F89-AAFA-19A23C157FB3}" type="parTrans" cxnId="{9C1D5E67-4076-4E69-88C3-BBF88CD13624}">
      <dgm:prSet/>
      <dgm:spPr/>
      <dgm:t>
        <a:bodyPr/>
        <a:lstStyle/>
        <a:p>
          <a:endParaRPr lang="es-CO"/>
        </a:p>
      </dgm:t>
    </dgm:pt>
    <dgm:pt modelId="{EF4B8186-E0E6-458C-9D3B-267C11033752}" type="sibTrans" cxnId="{9C1D5E67-4076-4E69-88C3-BBF88CD13624}">
      <dgm:prSet/>
      <dgm:spPr/>
      <dgm:t>
        <a:bodyPr/>
        <a:lstStyle/>
        <a:p>
          <a:endParaRPr lang="es-CO"/>
        </a:p>
      </dgm:t>
    </dgm:pt>
    <dgm:pt modelId="{E18FA679-C340-414F-97A8-2AD9DDC996F2}">
      <dgm:prSet phldrT="[Texto]"/>
      <dgm:spPr/>
      <dgm:t>
        <a:bodyPr/>
        <a:lstStyle/>
        <a:p>
          <a:r>
            <a:rPr lang="es-CO" smtClean="0"/>
            <a:t>Ministerio de Educación Nacional u organismos especializados en competencias.</a:t>
          </a:r>
          <a:endParaRPr lang="es-CO" dirty="0"/>
        </a:p>
      </dgm:t>
    </dgm:pt>
    <dgm:pt modelId="{9230D270-C12A-4C34-8D22-110CF305C97D}" type="parTrans" cxnId="{4CF03190-3D7D-4669-9126-24291670C2D3}">
      <dgm:prSet/>
      <dgm:spPr/>
      <dgm:t>
        <a:bodyPr/>
        <a:lstStyle/>
        <a:p>
          <a:endParaRPr lang="es-CO"/>
        </a:p>
      </dgm:t>
    </dgm:pt>
    <dgm:pt modelId="{819F8B20-0869-4239-8A25-7C7CA54A99C6}" type="sibTrans" cxnId="{4CF03190-3D7D-4669-9126-24291670C2D3}">
      <dgm:prSet/>
      <dgm:spPr/>
      <dgm:t>
        <a:bodyPr/>
        <a:lstStyle/>
        <a:p>
          <a:endParaRPr lang="es-CO"/>
        </a:p>
      </dgm:t>
    </dgm:pt>
    <dgm:pt modelId="{1FF0C413-DD02-411B-A828-8F012F82E807}" type="pres">
      <dgm:prSet presAssocID="{426C4A32-26E5-4629-9D88-1162318419E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A1F70722-2FEC-43E3-9A23-B1F4E642EE64}" type="pres">
      <dgm:prSet presAssocID="{064469A7-2962-4514-AE1B-48CAD74B89F5}" presName="linNode" presStyleCnt="0"/>
      <dgm:spPr/>
      <dgm:t>
        <a:bodyPr/>
        <a:lstStyle/>
        <a:p>
          <a:endParaRPr lang="es-CO"/>
        </a:p>
      </dgm:t>
    </dgm:pt>
    <dgm:pt modelId="{AC37217A-60E8-4486-91D3-00ABFF0C9208}" type="pres">
      <dgm:prSet presAssocID="{064469A7-2962-4514-AE1B-48CAD74B89F5}" presName="parTx" presStyleLbl="revTx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A249A0F-2B19-4081-B596-AFEEFB00AEC6}" type="pres">
      <dgm:prSet presAssocID="{064469A7-2962-4514-AE1B-48CAD74B89F5}" presName="bracket" presStyleLbl="parChTrans1D1" presStyleIdx="0" presStyleCnt="4"/>
      <dgm:spPr/>
      <dgm:t>
        <a:bodyPr/>
        <a:lstStyle/>
        <a:p>
          <a:endParaRPr lang="es-CO"/>
        </a:p>
      </dgm:t>
    </dgm:pt>
    <dgm:pt modelId="{43A07CAD-EEC5-498B-87A9-364C1ED77674}" type="pres">
      <dgm:prSet presAssocID="{064469A7-2962-4514-AE1B-48CAD74B89F5}" presName="spH" presStyleCnt="0"/>
      <dgm:spPr/>
      <dgm:t>
        <a:bodyPr/>
        <a:lstStyle/>
        <a:p>
          <a:endParaRPr lang="es-CO"/>
        </a:p>
      </dgm:t>
    </dgm:pt>
    <dgm:pt modelId="{63C88672-20D1-4CF1-8191-18C470C93209}" type="pres">
      <dgm:prSet presAssocID="{064469A7-2962-4514-AE1B-48CAD74B89F5}" presName="des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A7DAB9F-CA13-4E53-A2E8-97396852C397}" type="pres">
      <dgm:prSet presAssocID="{7241934F-60BE-4D04-8C7C-C96DD0962BBB}" presName="spV" presStyleCnt="0"/>
      <dgm:spPr/>
      <dgm:t>
        <a:bodyPr/>
        <a:lstStyle/>
        <a:p>
          <a:endParaRPr lang="es-CO"/>
        </a:p>
      </dgm:t>
    </dgm:pt>
    <dgm:pt modelId="{78A4640A-F2E8-4336-ADA0-249E00029259}" type="pres">
      <dgm:prSet presAssocID="{51987483-877F-4768-8A56-8A26B0A33A8B}" presName="linNode" presStyleCnt="0"/>
      <dgm:spPr/>
      <dgm:t>
        <a:bodyPr/>
        <a:lstStyle/>
        <a:p>
          <a:endParaRPr lang="es-CO"/>
        </a:p>
      </dgm:t>
    </dgm:pt>
    <dgm:pt modelId="{48BF8545-62FB-48D0-BF6C-B1E5382DA192}" type="pres">
      <dgm:prSet presAssocID="{51987483-877F-4768-8A56-8A26B0A33A8B}" presName="parTx" presStyleLbl="revTx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6011C12-C47D-48F7-AA89-AACEE724CC0F}" type="pres">
      <dgm:prSet presAssocID="{51987483-877F-4768-8A56-8A26B0A33A8B}" presName="bracket" presStyleLbl="parChTrans1D1" presStyleIdx="1" presStyleCnt="4"/>
      <dgm:spPr/>
      <dgm:t>
        <a:bodyPr/>
        <a:lstStyle/>
        <a:p>
          <a:endParaRPr lang="es-CO"/>
        </a:p>
      </dgm:t>
    </dgm:pt>
    <dgm:pt modelId="{47238512-0D02-4A31-94B1-6D5B163C7BF5}" type="pres">
      <dgm:prSet presAssocID="{51987483-877F-4768-8A56-8A26B0A33A8B}" presName="spH" presStyleCnt="0"/>
      <dgm:spPr/>
      <dgm:t>
        <a:bodyPr/>
        <a:lstStyle/>
        <a:p>
          <a:endParaRPr lang="es-CO"/>
        </a:p>
      </dgm:t>
    </dgm:pt>
    <dgm:pt modelId="{FFA7EAD1-296E-40CD-93AE-D6CD3F8417E2}" type="pres">
      <dgm:prSet presAssocID="{51987483-877F-4768-8A56-8A26B0A33A8B}" presName="des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62F12E4-C6E3-4480-998F-B17D9120587B}" type="pres">
      <dgm:prSet presAssocID="{D029B079-DB6B-4379-B273-7C146FE0EEA6}" presName="spV" presStyleCnt="0"/>
      <dgm:spPr/>
      <dgm:t>
        <a:bodyPr/>
        <a:lstStyle/>
        <a:p>
          <a:endParaRPr lang="es-CO"/>
        </a:p>
      </dgm:t>
    </dgm:pt>
    <dgm:pt modelId="{E640907A-ED0D-4B8F-A8E5-C5DA86E877F5}" type="pres">
      <dgm:prSet presAssocID="{1F9DD779-B3BD-4AA0-AB13-C38650497F17}" presName="linNode" presStyleCnt="0"/>
      <dgm:spPr/>
      <dgm:t>
        <a:bodyPr/>
        <a:lstStyle/>
        <a:p>
          <a:endParaRPr lang="es-CO"/>
        </a:p>
      </dgm:t>
    </dgm:pt>
    <dgm:pt modelId="{3A7A7695-5B13-450E-98E6-6395BDCAAF31}" type="pres">
      <dgm:prSet presAssocID="{1F9DD779-B3BD-4AA0-AB13-C38650497F17}" presName="parTx" presStyleLbl="revTx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F54AE2C-DE06-438F-A8AA-DDE061E301AA}" type="pres">
      <dgm:prSet presAssocID="{1F9DD779-B3BD-4AA0-AB13-C38650497F17}" presName="bracket" presStyleLbl="parChTrans1D1" presStyleIdx="2" presStyleCnt="4"/>
      <dgm:spPr/>
      <dgm:t>
        <a:bodyPr/>
        <a:lstStyle/>
        <a:p>
          <a:endParaRPr lang="es-CO"/>
        </a:p>
      </dgm:t>
    </dgm:pt>
    <dgm:pt modelId="{DF5E01D6-1158-4B96-B707-1E4299CF3401}" type="pres">
      <dgm:prSet presAssocID="{1F9DD779-B3BD-4AA0-AB13-C38650497F17}" presName="spH" presStyleCnt="0"/>
      <dgm:spPr/>
      <dgm:t>
        <a:bodyPr/>
        <a:lstStyle/>
        <a:p>
          <a:endParaRPr lang="es-CO"/>
        </a:p>
      </dgm:t>
    </dgm:pt>
    <dgm:pt modelId="{15E5D75E-3B36-4A58-8BE9-931EF235A6E1}" type="pres">
      <dgm:prSet presAssocID="{1F9DD779-B3BD-4AA0-AB13-C38650497F17}" presName="des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5794429-5C7D-4A87-90C2-776BC3E4D3FC}" type="pres">
      <dgm:prSet presAssocID="{7A8DC637-E2FC-4171-AF82-97293C88AB29}" presName="spV" presStyleCnt="0"/>
      <dgm:spPr/>
      <dgm:t>
        <a:bodyPr/>
        <a:lstStyle/>
        <a:p>
          <a:endParaRPr lang="es-CO"/>
        </a:p>
      </dgm:t>
    </dgm:pt>
    <dgm:pt modelId="{7AB7FEA2-7D00-4DA3-AC96-6A287E1D7443}" type="pres">
      <dgm:prSet presAssocID="{0ADB959F-9F28-45C2-A672-7ED00D86DF70}" presName="linNode" presStyleCnt="0"/>
      <dgm:spPr/>
      <dgm:t>
        <a:bodyPr/>
        <a:lstStyle/>
        <a:p>
          <a:endParaRPr lang="es-CO"/>
        </a:p>
      </dgm:t>
    </dgm:pt>
    <dgm:pt modelId="{3265399B-BC14-49E3-9B65-605C20A0A563}" type="pres">
      <dgm:prSet presAssocID="{0ADB959F-9F28-45C2-A672-7ED00D86DF70}" presName="parTx" presStyleLbl="revTx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B9FB7D-296D-44AE-9DD2-23A0D7AF4879}" type="pres">
      <dgm:prSet presAssocID="{0ADB959F-9F28-45C2-A672-7ED00D86DF70}" presName="bracket" presStyleLbl="parChTrans1D1" presStyleIdx="3" presStyleCnt="4"/>
      <dgm:spPr/>
      <dgm:t>
        <a:bodyPr/>
        <a:lstStyle/>
        <a:p>
          <a:endParaRPr lang="es-CO"/>
        </a:p>
      </dgm:t>
    </dgm:pt>
    <dgm:pt modelId="{30F11A40-B457-44DA-A6D4-797AB82B39DF}" type="pres">
      <dgm:prSet presAssocID="{0ADB959F-9F28-45C2-A672-7ED00D86DF70}" presName="spH" presStyleCnt="0"/>
      <dgm:spPr/>
      <dgm:t>
        <a:bodyPr/>
        <a:lstStyle/>
        <a:p>
          <a:endParaRPr lang="es-CO"/>
        </a:p>
      </dgm:t>
    </dgm:pt>
    <dgm:pt modelId="{8F9952F8-B1A9-4540-925B-0EC7C52AAA8E}" type="pres">
      <dgm:prSet presAssocID="{0ADB959F-9F28-45C2-A672-7ED00D86DF70}" presName="des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71C32F8-16A1-4B62-8EFC-F00A7EC5208E}" srcId="{1F9DD779-B3BD-4AA0-AB13-C38650497F17}" destId="{42E7FC2D-2B7E-43CA-A15D-5F66FCAB0376}" srcOrd="0" destOrd="0" parTransId="{6FF8BA45-6649-4B68-8C29-48F3C40B2F52}" sibTransId="{48EC2E3B-324A-48F1-A2EA-DEBB63BB0A6C}"/>
    <dgm:cxn modelId="{74B4E577-8DB2-46B4-8BA5-6E56180FA88D}" type="presOf" srcId="{064469A7-2962-4514-AE1B-48CAD74B89F5}" destId="{AC37217A-60E8-4486-91D3-00ABFF0C9208}" srcOrd="0" destOrd="0" presId="urn:diagrams.loki3.com/BracketList+Icon"/>
    <dgm:cxn modelId="{9C1D5E67-4076-4E69-88C3-BBF88CD13624}" srcId="{426C4A32-26E5-4629-9D88-1162318419E4}" destId="{0ADB959F-9F28-45C2-A672-7ED00D86DF70}" srcOrd="3" destOrd="0" parTransId="{69B77398-2D68-4F89-AAFA-19A23C157FB3}" sibTransId="{EF4B8186-E0E6-458C-9D3B-267C11033752}"/>
    <dgm:cxn modelId="{5D72F5F5-AE5E-496B-AF55-5874093FF8E2}" type="presOf" srcId="{1F9DD779-B3BD-4AA0-AB13-C38650497F17}" destId="{3A7A7695-5B13-450E-98E6-6395BDCAAF31}" srcOrd="0" destOrd="0" presId="urn:diagrams.loki3.com/BracketList+Icon"/>
    <dgm:cxn modelId="{AA05B01C-A95F-40B8-B7F9-DE6A587DE80C}" type="presOf" srcId="{0ADB959F-9F28-45C2-A672-7ED00D86DF70}" destId="{3265399B-BC14-49E3-9B65-605C20A0A563}" srcOrd="0" destOrd="0" presId="urn:diagrams.loki3.com/BracketList+Icon"/>
    <dgm:cxn modelId="{553D8579-63A5-45B2-AD5B-C9318FA0EBB3}" type="presOf" srcId="{426C4A32-26E5-4629-9D88-1162318419E4}" destId="{1FF0C413-DD02-411B-A828-8F012F82E807}" srcOrd="0" destOrd="0" presId="urn:diagrams.loki3.com/BracketList+Icon"/>
    <dgm:cxn modelId="{1FC4EEAB-CE54-40B6-B5A7-195562FD4C33}" srcId="{064469A7-2962-4514-AE1B-48CAD74B89F5}" destId="{5046C097-F008-4900-AF43-B9FC689E4D3A}" srcOrd="1" destOrd="0" parTransId="{A1559C33-1F41-4235-BD4A-17B4A6630E40}" sibTransId="{550B6952-6583-4CD1-8280-353350B4CE74}"/>
    <dgm:cxn modelId="{7EFE9324-5B8F-4A6F-BF04-08BD24C72182}" srcId="{426C4A32-26E5-4629-9D88-1162318419E4}" destId="{51987483-877F-4768-8A56-8A26B0A33A8B}" srcOrd="1" destOrd="0" parTransId="{C0C38A25-F317-48A5-9213-A82F9BC63CD6}" sibTransId="{D029B079-DB6B-4379-B273-7C146FE0EEA6}"/>
    <dgm:cxn modelId="{4CF03190-3D7D-4669-9126-24291670C2D3}" srcId="{0ADB959F-9F28-45C2-A672-7ED00D86DF70}" destId="{E18FA679-C340-414F-97A8-2AD9DDC996F2}" srcOrd="0" destOrd="0" parTransId="{9230D270-C12A-4C34-8D22-110CF305C97D}" sibTransId="{819F8B20-0869-4239-8A25-7C7CA54A99C6}"/>
    <dgm:cxn modelId="{894219FA-B3D5-41FD-868F-0FC114F59FB4}" type="presOf" srcId="{51987483-877F-4768-8A56-8A26B0A33A8B}" destId="{48BF8545-62FB-48D0-BF6C-B1E5382DA192}" srcOrd="0" destOrd="0" presId="urn:diagrams.loki3.com/BracketList+Icon"/>
    <dgm:cxn modelId="{B6CE68F1-354D-48AA-A353-4D7206C14F10}" srcId="{426C4A32-26E5-4629-9D88-1162318419E4}" destId="{064469A7-2962-4514-AE1B-48CAD74B89F5}" srcOrd="0" destOrd="0" parTransId="{0F211821-030A-4EBD-B54E-3554C274DEE9}" sibTransId="{7241934F-60BE-4D04-8C7C-C96DD0962BBB}"/>
    <dgm:cxn modelId="{B5FCAEA5-22DE-401F-900F-7A828CBA32B0}" type="presOf" srcId="{5046C097-F008-4900-AF43-B9FC689E4D3A}" destId="{63C88672-20D1-4CF1-8191-18C470C93209}" srcOrd="0" destOrd="1" presId="urn:diagrams.loki3.com/BracketList+Icon"/>
    <dgm:cxn modelId="{4933608F-C731-4183-9D72-402F367E256A}" type="presOf" srcId="{E18FA679-C340-414F-97A8-2AD9DDC996F2}" destId="{8F9952F8-B1A9-4540-925B-0EC7C52AAA8E}" srcOrd="0" destOrd="0" presId="urn:diagrams.loki3.com/BracketList+Icon"/>
    <dgm:cxn modelId="{608B28E4-1B38-4D71-A212-4010C1A421A5}" type="presOf" srcId="{9020ABD2-8684-4F92-A44E-D8BE295BEAEA}" destId="{FFA7EAD1-296E-40CD-93AE-D6CD3F8417E2}" srcOrd="0" destOrd="0" presId="urn:diagrams.loki3.com/BracketList+Icon"/>
    <dgm:cxn modelId="{C155F778-5E34-40BA-BD44-29F2AE958725}" srcId="{51987483-877F-4768-8A56-8A26B0A33A8B}" destId="{9020ABD2-8684-4F92-A44E-D8BE295BEAEA}" srcOrd="0" destOrd="0" parTransId="{E231F7FC-3965-40DA-9129-486763F527B7}" sibTransId="{05C0A864-B1E8-4E23-AD3F-4E9FA62A70F8}"/>
    <dgm:cxn modelId="{379FA818-B5AE-4FB7-BEAB-8D5D84F6B6B4}" srcId="{064469A7-2962-4514-AE1B-48CAD74B89F5}" destId="{35DA1D30-9EC9-4EBE-9C91-9A643D32F9F5}" srcOrd="0" destOrd="0" parTransId="{549E60F3-BDB3-4FC6-A633-90881DA1F755}" sibTransId="{B99AD4D2-DC8D-441A-8483-3605EF280F8B}"/>
    <dgm:cxn modelId="{5DDEEB75-4388-4DAA-98B8-56FFC8FF8504}" type="presOf" srcId="{35DA1D30-9EC9-4EBE-9C91-9A643D32F9F5}" destId="{63C88672-20D1-4CF1-8191-18C470C93209}" srcOrd="0" destOrd="0" presId="urn:diagrams.loki3.com/BracketList+Icon"/>
    <dgm:cxn modelId="{6F1B3003-AFB1-4EB5-9CD0-D546625334DD}" type="presOf" srcId="{42E7FC2D-2B7E-43CA-A15D-5F66FCAB0376}" destId="{15E5D75E-3B36-4A58-8BE9-931EF235A6E1}" srcOrd="0" destOrd="0" presId="urn:diagrams.loki3.com/BracketList+Icon"/>
    <dgm:cxn modelId="{0B8A280E-DA91-46CC-B22E-2E2E65536E72}" srcId="{426C4A32-26E5-4629-9D88-1162318419E4}" destId="{1F9DD779-B3BD-4AA0-AB13-C38650497F17}" srcOrd="2" destOrd="0" parTransId="{DFA3DED5-4C55-44FA-81F7-4696CEA92428}" sibTransId="{7A8DC637-E2FC-4171-AF82-97293C88AB29}"/>
    <dgm:cxn modelId="{FD3576D3-6EDA-4B4B-A7C9-A03F9D6F545A}" type="presParOf" srcId="{1FF0C413-DD02-411B-A828-8F012F82E807}" destId="{A1F70722-2FEC-43E3-9A23-B1F4E642EE64}" srcOrd="0" destOrd="0" presId="urn:diagrams.loki3.com/BracketList+Icon"/>
    <dgm:cxn modelId="{61A97821-6981-49EA-9FED-53DAC1CFFB5A}" type="presParOf" srcId="{A1F70722-2FEC-43E3-9A23-B1F4E642EE64}" destId="{AC37217A-60E8-4486-91D3-00ABFF0C9208}" srcOrd="0" destOrd="0" presId="urn:diagrams.loki3.com/BracketList+Icon"/>
    <dgm:cxn modelId="{FA6A9014-C60D-4303-8A03-0D27D0E50CFA}" type="presParOf" srcId="{A1F70722-2FEC-43E3-9A23-B1F4E642EE64}" destId="{2A249A0F-2B19-4081-B596-AFEEFB00AEC6}" srcOrd="1" destOrd="0" presId="urn:diagrams.loki3.com/BracketList+Icon"/>
    <dgm:cxn modelId="{0A004C94-E51A-4B0C-93FA-0062260E964A}" type="presParOf" srcId="{A1F70722-2FEC-43E3-9A23-B1F4E642EE64}" destId="{43A07CAD-EEC5-498B-87A9-364C1ED77674}" srcOrd="2" destOrd="0" presId="urn:diagrams.loki3.com/BracketList+Icon"/>
    <dgm:cxn modelId="{DC87A4CA-05EE-4819-8BDF-1535E30A08D9}" type="presParOf" srcId="{A1F70722-2FEC-43E3-9A23-B1F4E642EE64}" destId="{63C88672-20D1-4CF1-8191-18C470C93209}" srcOrd="3" destOrd="0" presId="urn:diagrams.loki3.com/BracketList+Icon"/>
    <dgm:cxn modelId="{32C544E7-00D6-4E02-A40D-71CF8C9730CF}" type="presParOf" srcId="{1FF0C413-DD02-411B-A828-8F012F82E807}" destId="{EA7DAB9F-CA13-4E53-A2E8-97396852C397}" srcOrd="1" destOrd="0" presId="urn:diagrams.loki3.com/BracketList+Icon"/>
    <dgm:cxn modelId="{19B74246-99D5-47EF-962A-426F2F0B0E29}" type="presParOf" srcId="{1FF0C413-DD02-411B-A828-8F012F82E807}" destId="{78A4640A-F2E8-4336-ADA0-249E00029259}" srcOrd="2" destOrd="0" presId="urn:diagrams.loki3.com/BracketList+Icon"/>
    <dgm:cxn modelId="{7F2DD28A-320A-40F1-89D6-5D3CBFF984D3}" type="presParOf" srcId="{78A4640A-F2E8-4336-ADA0-249E00029259}" destId="{48BF8545-62FB-48D0-BF6C-B1E5382DA192}" srcOrd="0" destOrd="0" presId="urn:diagrams.loki3.com/BracketList+Icon"/>
    <dgm:cxn modelId="{72862BE8-64A0-48C0-8B1B-7F0EACD2D753}" type="presParOf" srcId="{78A4640A-F2E8-4336-ADA0-249E00029259}" destId="{F6011C12-C47D-48F7-AA89-AACEE724CC0F}" srcOrd="1" destOrd="0" presId="urn:diagrams.loki3.com/BracketList+Icon"/>
    <dgm:cxn modelId="{1F63B786-FD62-4091-957B-ED2CC89AB29E}" type="presParOf" srcId="{78A4640A-F2E8-4336-ADA0-249E00029259}" destId="{47238512-0D02-4A31-94B1-6D5B163C7BF5}" srcOrd="2" destOrd="0" presId="urn:diagrams.loki3.com/BracketList+Icon"/>
    <dgm:cxn modelId="{B0DF1AAB-3A61-4863-94A4-F0082184F980}" type="presParOf" srcId="{78A4640A-F2E8-4336-ADA0-249E00029259}" destId="{FFA7EAD1-296E-40CD-93AE-D6CD3F8417E2}" srcOrd="3" destOrd="0" presId="urn:diagrams.loki3.com/BracketList+Icon"/>
    <dgm:cxn modelId="{B13D0949-7878-46D8-8375-ECE66C2A46B1}" type="presParOf" srcId="{1FF0C413-DD02-411B-A828-8F012F82E807}" destId="{E62F12E4-C6E3-4480-998F-B17D9120587B}" srcOrd="3" destOrd="0" presId="urn:diagrams.loki3.com/BracketList+Icon"/>
    <dgm:cxn modelId="{67658C15-2555-4F30-B240-BDE4998D5A7D}" type="presParOf" srcId="{1FF0C413-DD02-411B-A828-8F012F82E807}" destId="{E640907A-ED0D-4B8F-A8E5-C5DA86E877F5}" srcOrd="4" destOrd="0" presId="urn:diagrams.loki3.com/BracketList+Icon"/>
    <dgm:cxn modelId="{6E88C2DA-F264-4BF0-AA28-4C8724F9F7E2}" type="presParOf" srcId="{E640907A-ED0D-4B8F-A8E5-C5DA86E877F5}" destId="{3A7A7695-5B13-450E-98E6-6395BDCAAF31}" srcOrd="0" destOrd="0" presId="urn:diagrams.loki3.com/BracketList+Icon"/>
    <dgm:cxn modelId="{81D0B916-C827-4EB4-91F6-AF21D1503F17}" type="presParOf" srcId="{E640907A-ED0D-4B8F-A8E5-C5DA86E877F5}" destId="{2F54AE2C-DE06-438F-A8AA-DDE061E301AA}" srcOrd="1" destOrd="0" presId="urn:diagrams.loki3.com/BracketList+Icon"/>
    <dgm:cxn modelId="{8DDB8276-19FD-437B-8D3A-EBC992A1BB23}" type="presParOf" srcId="{E640907A-ED0D-4B8F-A8E5-C5DA86E877F5}" destId="{DF5E01D6-1158-4B96-B707-1E4299CF3401}" srcOrd="2" destOrd="0" presId="urn:diagrams.loki3.com/BracketList+Icon"/>
    <dgm:cxn modelId="{CCE2479F-5D26-46E2-BB81-A5A0EC695343}" type="presParOf" srcId="{E640907A-ED0D-4B8F-A8E5-C5DA86E877F5}" destId="{15E5D75E-3B36-4A58-8BE9-931EF235A6E1}" srcOrd="3" destOrd="0" presId="urn:diagrams.loki3.com/BracketList+Icon"/>
    <dgm:cxn modelId="{E2490447-8055-4525-8684-CB4F9008A68A}" type="presParOf" srcId="{1FF0C413-DD02-411B-A828-8F012F82E807}" destId="{45794429-5C7D-4A87-90C2-776BC3E4D3FC}" srcOrd="5" destOrd="0" presId="urn:diagrams.loki3.com/BracketList+Icon"/>
    <dgm:cxn modelId="{48024A56-1482-497F-8BFC-3DF7E5573EE3}" type="presParOf" srcId="{1FF0C413-DD02-411B-A828-8F012F82E807}" destId="{7AB7FEA2-7D00-4DA3-AC96-6A287E1D7443}" srcOrd="6" destOrd="0" presId="urn:diagrams.loki3.com/BracketList+Icon"/>
    <dgm:cxn modelId="{E33D458A-F704-487E-B31D-6E33436A961D}" type="presParOf" srcId="{7AB7FEA2-7D00-4DA3-AC96-6A287E1D7443}" destId="{3265399B-BC14-49E3-9B65-605C20A0A563}" srcOrd="0" destOrd="0" presId="urn:diagrams.loki3.com/BracketList+Icon"/>
    <dgm:cxn modelId="{6DFF6E4F-6F45-4E0B-9097-109153C38401}" type="presParOf" srcId="{7AB7FEA2-7D00-4DA3-AC96-6A287E1D7443}" destId="{22B9FB7D-296D-44AE-9DD2-23A0D7AF4879}" srcOrd="1" destOrd="0" presId="urn:diagrams.loki3.com/BracketList+Icon"/>
    <dgm:cxn modelId="{249C6848-1379-4092-9B17-09C48AABE8A8}" type="presParOf" srcId="{7AB7FEA2-7D00-4DA3-AC96-6A287E1D7443}" destId="{30F11A40-B457-44DA-A6D4-797AB82B39DF}" srcOrd="2" destOrd="0" presId="urn:diagrams.loki3.com/BracketList+Icon"/>
    <dgm:cxn modelId="{0A6F4920-973D-4409-ADA7-F461ED4D5871}" type="presParOf" srcId="{7AB7FEA2-7D00-4DA3-AC96-6A287E1D7443}" destId="{8F9952F8-B1A9-4540-925B-0EC7C52AAA8E}" srcOrd="3" destOrd="0" presId="urn:diagrams.loki3.com/BracketList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26C4A32-26E5-4629-9D88-1162318419E4}" type="doc">
      <dgm:prSet loTypeId="urn:diagrams.loki3.com/BracketList+Icon" loCatId="list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64469A7-2962-4514-AE1B-48CAD74B89F5}">
      <dgm:prSet phldrT="[Texto]"/>
      <dgm:spPr/>
      <dgm:t>
        <a:bodyPr/>
        <a:lstStyle/>
        <a:p>
          <a:pPr algn="ctr"/>
          <a:r>
            <a:rPr lang="es-CO" dirty="0" smtClean="0"/>
            <a:t>Enfoque de aseguramiento</a:t>
          </a:r>
          <a:endParaRPr lang="es-CO" dirty="0"/>
        </a:p>
      </dgm:t>
    </dgm:pt>
    <dgm:pt modelId="{0F211821-030A-4EBD-B54E-3554C274DEE9}" type="parTrans" cxnId="{B6CE68F1-354D-48AA-A353-4D7206C14F10}">
      <dgm:prSet/>
      <dgm:spPr/>
      <dgm:t>
        <a:bodyPr/>
        <a:lstStyle/>
        <a:p>
          <a:endParaRPr lang="es-CO"/>
        </a:p>
      </dgm:t>
    </dgm:pt>
    <dgm:pt modelId="{7241934F-60BE-4D04-8C7C-C96DD0962BBB}" type="sibTrans" cxnId="{B6CE68F1-354D-48AA-A353-4D7206C14F10}">
      <dgm:prSet/>
      <dgm:spPr/>
      <dgm:t>
        <a:bodyPr/>
        <a:lstStyle/>
        <a:p>
          <a:endParaRPr lang="es-CO"/>
        </a:p>
      </dgm:t>
    </dgm:pt>
    <dgm:pt modelId="{35DA1D30-9EC9-4EBE-9C91-9A643D32F9F5}">
      <dgm:prSet phldrT="[Texto]"/>
      <dgm:spPr/>
      <dgm:t>
        <a:bodyPr/>
        <a:lstStyle/>
        <a:p>
          <a:r>
            <a:rPr lang="es-CO" smtClean="0"/>
            <a:t>Nivel de licenciamiento</a:t>
          </a:r>
          <a:endParaRPr lang="es-CO" dirty="0"/>
        </a:p>
      </dgm:t>
    </dgm:pt>
    <dgm:pt modelId="{549E60F3-BDB3-4FC6-A633-90881DA1F755}" type="parTrans" cxnId="{379FA818-B5AE-4FB7-BEAB-8D5D84F6B6B4}">
      <dgm:prSet/>
      <dgm:spPr/>
      <dgm:t>
        <a:bodyPr/>
        <a:lstStyle/>
        <a:p>
          <a:endParaRPr lang="es-CO"/>
        </a:p>
      </dgm:t>
    </dgm:pt>
    <dgm:pt modelId="{B99AD4D2-DC8D-441A-8483-3605EF280F8B}" type="sibTrans" cxnId="{379FA818-B5AE-4FB7-BEAB-8D5D84F6B6B4}">
      <dgm:prSet/>
      <dgm:spPr/>
      <dgm:t>
        <a:bodyPr/>
        <a:lstStyle/>
        <a:p>
          <a:endParaRPr lang="es-CO"/>
        </a:p>
      </dgm:t>
    </dgm:pt>
    <dgm:pt modelId="{51987483-877F-4768-8A56-8A26B0A33A8B}">
      <dgm:prSet phldrT="[Texto]"/>
      <dgm:spPr/>
      <dgm:t>
        <a:bodyPr/>
        <a:lstStyle/>
        <a:p>
          <a:pPr algn="ctr"/>
          <a:r>
            <a:rPr lang="es-CO" dirty="0" smtClean="0"/>
            <a:t>Construcción de referentes</a:t>
          </a:r>
          <a:endParaRPr lang="es-CO" dirty="0"/>
        </a:p>
      </dgm:t>
    </dgm:pt>
    <dgm:pt modelId="{C0C38A25-F317-48A5-9213-A82F9BC63CD6}" type="parTrans" cxnId="{7EFE9324-5B8F-4A6F-BF04-08BD24C72182}">
      <dgm:prSet/>
      <dgm:spPr/>
      <dgm:t>
        <a:bodyPr/>
        <a:lstStyle/>
        <a:p>
          <a:endParaRPr lang="es-CO"/>
        </a:p>
      </dgm:t>
    </dgm:pt>
    <dgm:pt modelId="{D029B079-DB6B-4379-B273-7C146FE0EEA6}" type="sibTrans" cxnId="{7EFE9324-5B8F-4A6F-BF04-08BD24C72182}">
      <dgm:prSet/>
      <dgm:spPr/>
      <dgm:t>
        <a:bodyPr/>
        <a:lstStyle/>
        <a:p>
          <a:endParaRPr lang="es-CO"/>
        </a:p>
      </dgm:t>
    </dgm:pt>
    <dgm:pt modelId="{9020ABD2-8684-4F92-A44E-D8BE295BEAEA}">
      <dgm:prSet phldrT="[Texto]"/>
      <dgm:spPr/>
      <dgm:t>
        <a:bodyPr/>
        <a:lstStyle/>
        <a:p>
          <a:r>
            <a:rPr kumimoji="0" lang="es-MX" u="none" strike="noStrike" cap="none" normalizeH="0" baseline="0" smtClean="0">
              <a:ln/>
              <a:effectLst/>
            </a:rPr>
            <a:t>Mesas sectoriales con sociedad civil, sector privado y academia</a:t>
          </a:r>
          <a:r>
            <a:rPr lang="es-CO" smtClean="0"/>
            <a:t>.</a:t>
          </a:r>
          <a:endParaRPr lang="es-CO" dirty="0"/>
        </a:p>
      </dgm:t>
    </dgm:pt>
    <dgm:pt modelId="{E231F7FC-3965-40DA-9129-486763F527B7}" type="parTrans" cxnId="{C155F778-5E34-40BA-BD44-29F2AE958725}">
      <dgm:prSet/>
      <dgm:spPr/>
      <dgm:t>
        <a:bodyPr/>
        <a:lstStyle/>
        <a:p>
          <a:endParaRPr lang="es-CO"/>
        </a:p>
      </dgm:t>
    </dgm:pt>
    <dgm:pt modelId="{05C0A864-B1E8-4E23-AD3F-4E9FA62A70F8}" type="sibTrans" cxnId="{C155F778-5E34-40BA-BD44-29F2AE958725}">
      <dgm:prSet/>
      <dgm:spPr/>
      <dgm:t>
        <a:bodyPr/>
        <a:lstStyle/>
        <a:p>
          <a:endParaRPr lang="es-CO"/>
        </a:p>
      </dgm:t>
    </dgm:pt>
    <dgm:pt modelId="{1F9DD779-B3BD-4AA0-AB13-C38650497F17}">
      <dgm:prSet phldrT="[Texto]"/>
      <dgm:spPr/>
      <dgm:t>
        <a:bodyPr/>
        <a:lstStyle/>
        <a:p>
          <a:pPr algn="ctr"/>
          <a:r>
            <a:rPr lang="es-CO" dirty="0" smtClean="0"/>
            <a:t>Referentes para Instituciones</a:t>
          </a:r>
          <a:endParaRPr lang="es-CO" dirty="0"/>
        </a:p>
      </dgm:t>
    </dgm:pt>
    <dgm:pt modelId="{DFA3DED5-4C55-44FA-81F7-4696CEA92428}" type="parTrans" cxnId="{0B8A280E-DA91-46CC-B22E-2E2E65536E72}">
      <dgm:prSet/>
      <dgm:spPr/>
      <dgm:t>
        <a:bodyPr/>
        <a:lstStyle/>
        <a:p>
          <a:endParaRPr lang="es-CO"/>
        </a:p>
      </dgm:t>
    </dgm:pt>
    <dgm:pt modelId="{7A8DC637-E2FC-4171-AF82-97293C88AB29}" type="sibTrans" cxnId="{0B8A280E-DA91-46CC-B22E-2E2E65536E72}">
      <dgm:prSet/>
      <dgm:spPr/>
      <dgm:t>
        <a:bodyPr/>
        <a:lstStyle/>
        <a:p>
          <a:endParaRPr lang="es-CO"/>
        </a:p>
      </dgm:t>
    </dgm:pt>
    <dgm:pt modelId="{42E7FC2D-2B7E-43CA-A15D-5F66FCAB0376}">
      <dgm:prSet phldrT="[Texto]"/>
      <dgm:spPr/>
      <dgm:t>
        <a:bodyPr/>
        <a:lstStyle/>
        <a:p>
          <a:r>
            <a:rPr lang="es-CO" smtClean="0"/>
            <a:t>Muy variadas.</a:t>
          </a:r>
          <a:endParaRPr lang="es-CO" dirty="0"/>
        </a:p>
      </dgm:t>
    </dgm:pt>
    <dgm:pt modelId="{6FF8BA45-6649-4B68-8C29-48F3C40B2F52}" type="parTrans" cxnId="{371C32F8-16A1-4B62-8EFC-F00A7EC5208E}">
      <dgm:prSet/>
      <dgm:spPr/>
      <dgm:t>
        <a:bodyPr/>
        <a:lstStyle/>
        <a:p>
          <a:endParaRPr lang="es-CO"/>
        </a:p>
      </dgm:t>
    </dgm:pt>
    <dgm:pt modelId="{48EC2E3B-324A-48F1-A2EA-DEBB63BB0A6C}" type="sibTrans" cxnId="{371C32F8-16A1-4B62-8EFC-F00A7EC5208E}">
      <dgm:prSet/>
      <dgm:spPr/>
      <dgm:t>
        <a:bodyPr/>
        <a:lstStyle/>
        <a:p>
          <a:endParaRPr lang="es-CO"/>
        </a:p>
      </dgm:t>
    </dgm:pt>
    <dgm:pt modelId="{0ADB959F-9F28-45C2-A672-7ED00D86DF70}">
      <dgm:prSet phldrT="[Texto]"/>
      <dgm:spPr/>
      <dgm:t>
        <a:bodyPr/>
        <a:lstStyle/>
        <a:p>
          <a:pPr algn="ctr"/>
          <a:r>
            <a:rPr lang="es-CO" dirty="0" smtClean="0"/>
            <a:t>Verificación de condiciones</a:t>
          </a:r>
          <a:endParaRPr lang="es-CO" dirty="0"/>
        </a:p>
      </dgm:t>
    </dgm:pt>
    <dgm:pt modelId="{69B77398-2D68-4F89-AAFA-19A23C157FB3}" type="parTrans" cxnId="{9C1D5E67-4076-4E69-88C3-BBF88CD13624}">
      <dgm:prSet/>
      <dgm:spPr/>
      <dgm:t>
        <a:bodyPr/>
        <a:lstStyle/>
        <a:p>
          <a:endParaRPr lang="es-CO"/>
        </a:p>
      </dgm:t>
    </dgm:pt>
    <dgm:pt modelId="{EF4B8186-E0E6-458C-9D3B-267C11033752}" type="sibTrans" cxnId="{9C1D5E67-4076-4E69-88C3-BBF88CD13624}">
      <dgm:prSet/>
      <dgm:spPr/>
      <dgm:t>
        <a:bodyPr/>
        <a:lstStyle/>
        <a:p>
          <a:endParaRPr lang="es-CO"/>
        </a:p>
      </dgm:t>
    </dgm:pt>
    <dgm:pt modelId="{E18FA679-C340-414F-97A8-2AD9DDC996F2}">
      <dgm:prSet phldrT="[Texto]"/>
      <dgm:spPr/>
      <dgm:t>
        <a:bodyPr/>
        <a:lstStyle/>
        <a:p>
          <a:r>
            <a:rPr lang="es-CO" smtClean="0"/>
            <a:t>Autoevaluación.</a:t>
          </a:r>
          <a:endParaRPr lang="es-CO" dirty="0"/>
        </a:p>
      </dgm:t>
    </dgm:pt>
    <dgm:pt modelId="{9230D270-C12A-4C34-8D22-110CF305C97D}" type="parTrans" cxnId="{4CF03190-3D7D-4669-9126-24291670C2D3}">
      <dgm:prSet/>
      <dgm:spPr/>
      <dgm:t>
        <a:bodyPr/>
        <a:lstStyle/>
        <a:p>
          <a:endParaRPr lang="es-CO"/>
        </a:p>
      </dgm:t>
    </dgm:pt>
    <dgm:pt modelId="{819F8B20-0869-4239-8A25-7C7CA54A99C6}" type="sibTrans" cxnId="{4CF03190-3D7D-4669-9126-24291670C2D3}">
      <dgm:prSet/>
      <dgm:spPr/>
      <dgm:t>
        <a:bodyPr/>
        <a:lstStyle/>
        <a:p>
          <a:endParaRPr lang="es-CO"/>
        </a:p>
      </dgm:t>
    </dgm:pt>
    <dgm:pt modelId="{1DA678DE-1051-4BB0-B434-0E556E1FC305}">
      <dgm:prSet phldrT="[Texto]"/>
      <dgm:spPr/>
      <dgm:t>
        <a:bodyPr/>
        <a:lstStyle/>
        <a:p>
          <a:r>
            <a:rPr lang="es-CO" smtClean="0"/>
            <a:t>Nivel de acreditación</a:t>
          </a:r>
          <a:endParaRPr lang="es-CO" dirty="0"/>
        </a:p>
      </dgm:t>
    </dgm:pt>
    <dgm:pt modelId="{821B1614-BDC7-4CEA-A5A9-61481E313CBC}" type="parTrans" cxnId="{2E66DEF2-D063-4CEC-92C5-4452B4086114}">
      <dgm:prSet/>
      <dgm:spPr/>
      <dgm:t>
        <a:bodyPr/>
        <a:lstStyle/>
        <a:p>
          <a:endParaRPr lang="es-CO"/>
        </a:p>
      </dgm:t>
    </dgm:pt>
    <dgm:pt modelId="{3A68469D-EF37-4B0C-B895-7B9BBFF6B1E2}" type="sibTrans" cxnId="{2E66DEF2-D063-4CEC-92C5-4452B4086114}">
      <dgm:prSet/>
      <dgm:spPr/>
      <dgm:t>
        <a:bodyPr/>
        <a:lstStyle/>
        <a:p>
          <a:endParaRPr lang="es-CO"/>
        </a:p>
      </dgm:t>
    </dgm:pt>
    <dgm:pt modelId="{94EF06C5-D10C-4E82-8591-A41518A63741}">
      <dgm:prSet phldrT="[Texto]"/>
      <dgm:spPr/>
      <dgm:t>
        <a:bodyPr/>
        <a:lstStyle/>
        <a:p>
          <a:r>
            <a:rPr lang="es-CO" smtClean="0"/>
            <a:t>Incluyen: Infraestructura, personal, egresados, equipamiento, reglamentos, identidad, constitución, autonomía, recursos financieros y administrativos.</a:t>
          </a:r>
          <a:endParaRPr lang="es-CO" dirty="0"/>
        </a:p>
      </dgm:t>
    </dgm:pt>
    <dgm:pt modelId="{F3B77353-5D14-401E-80C2-1EE8D9470BF9}" type="parTrans" cxnId="{C7808709-B6A3-4EEA-918E-CAF3C3461FE4}">
      <dgm:prSet/>
      <dgm:spPr/>
      <dgm:t>
        <a:bodyPr/>
        <a:lstStyle/>
        <a:p>
          <a:endParaRPr lang="es-CO"/>
        </a:p>
      </dgm:t>
    </dgm:pt>
    <dgm:pt modelId="{56EA9165-40D0-4487-8085-3DFCA0119E13}" type="sibTrans" cxnId="{C7808709-B6A3-4EEA-918E-CAF3C3461FE4}">
      <dgm:prSet/>
      <dgm:spPr/>
      <dgm:t>
        <a:bodyPr/>
        <a:lstStyle/>
        <a:p>
          <a:endParaRPr lang="es-CO"/>
        </a:p>
      </dgm:t>
    </dgm:pt>
    <dgm:pt modelId="{4038977B-7AE7-4F89-A1AF-E3BF478A512F}">
      <dgm:prSet phldrT="[Texto]"/>
      <dgm:spPr/>
      <dgm:t>
        <a:bodyPr/>
        <a:lstStyle/>
        <a:p>
          <a:r>
            <a:rPr lang="es-CO" smtClean="0"/>
            <a:t>Auditoría de Gestión.</a:t>
          </a:r>
          <a:endParaRPr lang="es-CO" dirty="0"/>
        </a:p>
      </dgm:t>
    </dgm:pt>
    <dgm:pt modelId="{286BBA95-B79C-45E5-A062-7DAE44370780}" type="parTrans" cxnId="{2C2E2CE4-4362-4904-88E8-FA515CD25A3E}">
      <dgm:prSet/>
      <dgm:spPr/>
      <dgm:t>
        <a:bodyPr/>
        <a:lstStyle/>
        <a:p>
          <a:endParaRPr lang="es-CO"/>
        </a:p>
      </dgm:t>
    </dgm:pt>
    <dgm:pt modelId="{8858A22E-40AE-4539-B87D-C04897EC3CAB}" type="sibTrans" cxnId="{2C2E2CE4-4362-4904-88E8-FA515CD25A3E}">
      <dgm:prSet/>
      <dgm:spPr/>
      <dgm:t>
        <a:bodyPr/>
        <a:lstStyle/>
        <a:p>
          <a:endParaRPr lang="es-CO"/>
        </a:p>
      </dgm:t>
    </dgm:pt>
    <dgm:pt modelId="{AB27B6BA-86F3-4609-9064-C39301225692}">
      <dgm:prSet phldrT="[Texto]"/>
      <dgm:spPr/>
      <dgm:t>
        <a:bodyPr/>
        <a:lstStyle/>
        <a:p>
          <a:r>
            <a:rPr lang="es-CO" smtClean="0"/>
            <a:t>Evaluación “in situ”.</a:t>
          </a:r>
          <a:endParaRPr lang="es-CO" dirty="0"/>
        </a:p>
      </dgm:t>
    </dgm:pt>
    <dgm:pt modelId="{0238FBE4-2091-4842-9F1D-88EC5850809E}" type="parTrans" cxnId="{B9DFE386-93C9-45B9-B36B-86E3E1C8F35D}">
      <dgm:prSet/>
      <dgm:spPr/>
      <dgm:t>
        <a:bodyPr/>
        <a:lstStyle/>
        <a:p>
          <a:endParaRPr lang="es-CO"/>
        </a:p>
      </dgm:t>
    </dgm:pt>
    <dgm:pt modelId="{7E29F7C5-F20B-41F9-BC0E-3DF31EFB2ED6}" type="sibTrans" cxnId="{B9DFE386-93C9-45B9-B36B-86E3E1C8F35D}">
      <dgm:prSet/>
      <dgm:spPr/>
      <dgm:t>
        <a:bodyPr/>
        <a:lstStyle/>
        <a:p>
          <a:endParaRPr lang="es-CO"/>
        </a:p>
      </dgm:t>
    </dgm:pt>
    <dgm:pt modelId="{1FF0C413-DD02-411B-A828-8F012F82E807}" type="pres">
      <dgm:prSet presAssocID="{426C4A32-26E5-4629-9D88-1162318419E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A1F70722-2FEC-43E3-9A23-B1F4E642EE64}" type="pres">
      <dgm:prSet presAssocID="{064469A7-2962-4514-AE1B-48CAD74B89F5}" presName="linNode" presStyleCnt="0"/>
      <dgm:spPr/>
      <dgm:t>
        <a:bodyPr/>
        <a:lstStyle/>
        <a:p>
          <a:endParaRPr lang="es-CO"/>
        </a:p>
      </dgm:t>
    </dgm:pt>
    <dgm:pt modelId="{AC37217A-60E8-4486-91D3-00ABFF0C9208}" type="pres">
      <dgm:prSet presAssocID="{064469A7-2962-4514-AE1B-48CAD74B89F5}" presName="parTx" presStyleLbl="revTx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A249A0F-2B19-4081-B596-AFEEFB00AEC6}" type="pres">
      <dgm:prSet presAssocID="{064469A7-2962-4514-AE1B-48CAD74B89F5}" presName="bracket" presStyleLbl="parChTrans1D1" presStyleIdx="0" presStyleCnt="4"/>
      <dgm:spPr/>
      <dgm:t>
        <a:bodyPr/>
        <a:lstStyle/>
        <a:p>
          <a:endParaRPr lang="es-CO"/>
        </a:p>
      </dgm:t>
    </dgm:pt>
    <dgm:pt modelId="{43A07CAD-EEC5-498B-87A9-364C1ED77674}" type="pres">
      <dgm:prSet presAssocID="{064469A7-2962-4514-AE1B-48CAD74B89F5}" presName="spH" presStyleCnt="0"/>
      <dgm:spPr/>
      <dgm:t>
        <a:bodyPr/>
        <a:lstStyle/>
        <a:p>
          <a:endParaRPr lang="es-CO"/>
        </a:p>
      </dgm:t>
    </dgm:pt>
    <dgm:pt modelId="{63C88672-20D1-4CF1-8191-18C470C93209}" type="pres">
      <dgm:prSet presAssocID="{064469A7-2962-4514-AE1B-48CAD74B89F5}" presName="des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A7DAB9F-CA13-4E53-A2E8-97396852C397}" type="pres">
      <dgm:prSet presAssocID="{7241934F-60BE-4D04-8C7C-C96DD0962BBB}" presName="spV" presStyleCnt="0"/>
      <dgm:spPr/>
      <dgm:t>
        <a:bodyPr/>
        <a:lstStyle/>
        <a:p>
          <a:endParaRPr lang="es-CO"/>
        </a:p>
      </dgm:t>
    </dgm:pt>
    <dgm:pt modelId="{78A4640A-F2E8-4336-ADA0-249E00029259}" type="pres">
      <dgm:prSet presAssocID="{51987483-877F-4768-8A56-8A26B0A33A8B}" presName="linNode" presStyleCnt="0"/>
      <dgm:spPr/>
      <dgm:t>
        <a:bodyPr/>
        <a:lstStyle/>
        <a:p>
          <a:endParaRPr lang="es-CO"/>
        </a:p>
      </dgm:t>
    </dgm:pt>
    <dgm:pt modelId="{48BF8545-62FB-48D0-BF6C-B1E5382DA192}" type="pres">
      <dgm:prSet presAssocID="{51987483-877F-4768-8A56-8A26B0A33A8B}" presName="parTx" presStyleLbl="revTx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6011C12-C47D-48F7-AA89-AACEE724CC0F}" type="pres">
      <dgm:prSet presAssocID="{51987483-877F-4768-8A56-8A26B0A33A8B}" presName="bracket" presStyleLbl="parChTrans1D1" presStyleIdx="1" presStyleCnt="4"/>
      <dgm:spPr/>
      <dgm:t>
        <a:bodyPr/>
        <a:lstStyle/>
        <a:p>
          <a:endParaRPr lang="es-CO"/>
        </a:p>
      </dgm:t>
    </dgm:pt>
    <dgm:pt modelId="{47238512-0D02-4A31-94B1-6D5B163C7BF5}" type="pres">
      <dgm:prSet presAssocID="{51987483-877F-4768-8A56-8A26B0A33A8B}" presName="spH" presStyleCnt="0"/>
      <dgm:spPr/>
      <dgm:t>
        <a:bodyPr/>
        <a:lstStyle/>
        <a:p>
          <a:endParaRPr lang="es-CO"/>
        </a:p>
      </dgm:t>
    </dgm:pt>
    <dgm:pt modelId="{FFA7EAD1-296E-40CD-93AE-D6CD3F8417E2}" type="pres">
      <dgm:prSet presAssocID="{51987483-877F-4768-8A56-8A26B0A33A8B}" presName="des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62F12E4-C6E3-4480-998F-B17D9120587B}" type="pres">
      <dgm:prSet presAssocID="{D029B079-DB6B-4379-B273-7C146FE0EEA6}" presName="spV" presStyleCnt="0"/>
      <dgm:spPr/>
      <dgm:t>
        <a:bodyPr/>
        <a:lstStyle/>
        <a:p>
          <a:endParaRPr lang="es-CO"/>
        </a:p>
      </dgm:t>
    </dgm:pt>
    <dgm:pt modelId="{E640907A-ED0D-4B8F-A8E5-C5DA86E877F5}" type="pres">
      <dgm:prSet presAssocID="{1F9DD779-B3BD-4AA0-AB13-C38650497F17}" presName="linNode" presStyleCnt="0"/>
      <dgm:spPr/>
      <dgm:t>
        <a:bodyPr/>
        <a:lstStyle/>
        <a:p>
          <a:endParaRPr lang="es-CO"/>
        </a:p>
      </dgm:t>
    </dgm:pt>
    <dgm:pt modelId="{3A7A7695-5B13-450E-98E6-6395BDCAAF31}" type="pres">
      <dgm:prSet presAssocID="{1F9DD779-B3BD-4AA0-AB13-C38650497F17}" presName="parTx" presStyleLbl="revTx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F54AE2C-DE06-438F-A8AA-DDE061E301AA}" type="pres">
      <dgm:prSet presAssocID="{1F9DD779-B3BD-4AA0-AB13-C38650497F17}" presName="bracket" presStyleLbl="parChTrans1D1" presStyleIdx="2" presStyleCnt="4"/>
      <dgm:spPr/>
      <dgm:t>
        <a:bodyPr/>
        <a:lstStyle/>
        <a:p>
          <a:endParaRPr lang="es-CO"/>
        </a:p>
      </dgm:t>
    </dgm:pt>
    <dgm:pt modelId="{DF5E01D6-1158-4B96-B707-1E4299CF3401}" type="pres">
      <dgm:prSet presAssocID="{1F9DD779-B3BD-4AA0-AB13-C38650497F17}" presName="spH" presStyleCnt="0"/>
      <dgm:spPr/>
      <dgm:t>
        <a:bodyPr/>
        <a:lstStyle/>
        <a:p>
          <a:endParaRPr lang="es-CO"/>
        </a:p>
      </dgm:t>
    </dgm:pt>
    <dgm:pt modelId="{15E5D75E-3B36-4A58-8BE9-931EF235A6E1}" type="pres">
      <dgm:prSet presAssocID="{1F9DD779-B3BD-4AA0-AB13-C38650497F17}" presName="des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5794429-5C7D-4A87-90C2-776BC3E4D3FC}" type="pres">
      <dgm:prSet presAssocID="{7A8DC637-E2FC-4171-AF82-97293C88AB29}" presName="spV" presStyleCnt="0"/>
      <dgm:spPr/>
      <dgm:t>
        <a:bodyPr/>
        <a:lstStyle/>
        <a:p>
          <a:endParaRPr lang="es-CO"/>
        </a:p>
      </dgm:t>
    </dgm:pt>
    <dgm:pt modelId="{7AB7FEA2-7D00-4DA3-AC96-6A287E1D7443}" type="pres">
      <dgm:prSet presAssocID="{0ADB959F-9F28-45C2-A672-7ED00D86DF70}" presName="linNode" presStyleCnt="0"/>
      <dgm:spPr/>
      <dgm:t>
        <a:bodyPr/>
        <a:lstStyle/>
        <a:p>
          <a:endParaRPr lang="es-CO"/>
        </a:p>
      </dgm:t>
    </dgm:pt>
    <dgm:pt modelId="{3265399B-BC14-49E3-9B65-605C20A0A563}" type="pres">
      <dgm:prSet presAssocID="{0ADB959F-9F28-45C2-A672-7ED00D86DF70}" presName="parTx" presStyleLbl="revTx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B9FB7D-296D-44AE-9DD2-23A0D7AF4879}" type="pres">
      <dgm:prSet presAssocID="{0ADB959F-9F28-45C2-A672-7ED00D86DF70}" presName="bracket" presStyleLbl="parChTrans1D1" presStyleIdx="3" presStyleCnt="4"/>
      <dgm:spPr/>
      <dgm:t>
        <a:bodyPr/>
        <a:lstStyle/>
        <a:p>
          <a:endParaRPr lang="es-CO"/>
        </a:p>
      </dgm:t>
    </dgm:pt>
    <dgm:pt modelId="{30F11A40-B457-44DA-A6D4-797AB82B39DF}" type="pres">
      <dgm:prSet presAssocID="{0ADB959F-9F28-45C2-A672-7ED00D86DF70}" presName="spH" presStyleCnt="0"/>
      <dgm:spPr/>
      <dgm:t>
        <a:bodyPr/>
        <a:lstStyle/>
        <a:p>
          <a:endParaRPr lang="es-CO"/>
        </a:p>
      </dgm:t>
    </dgm:pt>
    <dgm:pt modelId="{8F9952F8-B1A9-4540-925B-0EC7C52AAA8E}" type="pres">
      <dgm:prSet presAssocID="{0ADB959F-9F28-45C2-A672-7ED00D86DF70}" presName="des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BEBB8AC-E5E4-4A11-8F19-CFAA83C99FF3}" type="presOf" srcId="{51987483-877F-4768-8A56-8A26B0A33A8B}" destId="{48BF8545-62FB-48D0-BF6C-B1E5382DA192}" srcOrd="0" destOrd="0" presId="urn:diagrams.loki3.com/BracketList+Icon"/>
    <dgm:cxn modelId="{CA9EB267-4D08-40A0-9278-DBBDB15AF29E}" type="presOf" srcId="{42E7FC2D-2B7E-43CA-A15D-5F66FCAB0376}" destId="{15E5D75E-3B36-4A58-8BE9-931EF235A6E1}" srcOrd="0" destOrd="0" presId="urn:diagrams.loki3.com/BracketList+Icon"/>
    <dgm:cxn modelId="{EDCBC6F5-B996-47BB-8338-EBFF9D8FBCB6}" type="presOf" srcId="{1F9DD779-B3BD-4AA0-AB13-C38650497F17}" destId="{3A7A7695-5B13-450E-98E6-6395BDCAAF31}" srcOrd="0" destOrd="0" presId="urn:diagrams.loki3.com/BracketList+Icon"/>
    <dgm:cxn modelId="{22691A4D-DE0A-4889-9DC1-8C3309619190}" type="presOf" srcId="{1DA678DE-1051-4BB0-B434-0E556E1FC305}" destId="{63C88672-20D1-4CF1-8191-18C470C93209}" srcOrd="0" destOrd="1" presId="urn:diagrams.loki3.com/BracketList+Icon"/>
    <dgm:cxn modelId="{2E66DEF2-D063-4CEC-92C5-4452B4086114}" srcId="{064469A7-2962-4514-AE1B-48CAD74B89F5}" destId="{1DA678DE-1051-4BB0-B434-0E556E1FC305}" srcOrd="1" destOrd="0" parTransId="{821B1614-BDC7-4CEA-A5A9-61481E313CBC}" sibTransId="{3A68469D-EF37-4B0C-B895-7B9BBFF6B1E2}"/>
    <dgm:cxn modelId="{8CB402B8-16B4-4719-8918-8F9938C6B09D}" type="presOf" srcId="{AB27B6BA-86F3-4609-9064-C39301225692}" destId="{8F9952F8-B1A9-4540-925B-0EC7C52AAA8E}" srcOrd="0" destOrd="2" presId="urn:diagrams.loki3.com/BracketList+Icon"/>
    <dgm:cxn modelId="{591C8CF4-3D4B-4A11-89AB-6813F77BBBB9}" type="presOf" srcId="{4038977B-7AE7-4F89-A1AF-E3BF478A512F}" destId="{8F9952F8-B1A9-4540-925B-0EC7C52AAA8E}" srcOrd="0" destOrd="1" presId="urn:diagrams.loki3.com/BracketList+Icon"/>
    <dgm:cxn modelId="{7EFE9324-5B8F-4A6F-BF04-08BD24C72182}" srcId="{426C4A32-26E5-4629-9D88-1162318419E4}" destId="{51987483-877F-4768-8A56-8A26B0A33A8B}" srcOrd="1" destOrd="0" parTransId="{C0C38A25-F317-48A5-9213-A82F9BC63CD6}" sibTransId="{D029B079-DB6B-4379-B273-7C146FE0EEA6}"/>
    <dgm:cxn modelId="{4CF03190-3D7D-4669-9126-24291670C2D3}" srcId="{0ADB959F-9F28-45C2-A672-7ED00D86DF70}" destId="{E18FA679-C340-414F-97A8-2AD9DDC996F2}" srcOrd="0" destOrd="0" parTransId="{9230D270-C12A-4C34-8D22-110CF305C97D}" sibTransId="{819F8B20-0869-4239-8A25-7C7CA54A99C6}"/>
    <dgm:cxn modelId="{B6E00961-3E47-4B71-B783-C8746F5F8491}" type="presOf" srcId="{35DA1D30-9EC9-4EBE-9C91-9A643D32F9F5}" destId="{63C88672-20D1-4CF1-8191-18C470C93209}" srcOrd="0" destOrd="0" presId="urn:diagrams.loki3.com/BracketList+Icon"/>
    <dgm:cxn modelId="{C155F778-5E34-40BA-BD44-29F2AE958725}" srcId="{51987483-877F-4768-8A56-8A26B0A33A8B}" destId="{9020ABD2-8684-4F92-A44E-D8BE295BEAEA}" srcOrd="0" destOrd="0" parTransId="{E231F7FC-3965-40DA-9129-486763F527B7}" sibTransId="{05C0A864-B1E8-4E23-AD3F-4E9FA62A70F8}"/>
    <dgm:cxn modelId="{D59B2693-3D04-4109-A7AC-EC3AE761ED0B}" type="presOf" srcId="{9020ABD2-8684-4F92-A44E-D8BE295BEAEA}" destId="{FFA7EAD1-296E-40CD-93AE-D6CD3F8417E2}" srcOrd="0" destOrd="0" presId="urn:diagrams.loki3.com/BracketList+Icon"/>
    <dgm:cxn modelId="{371C32F8-16A1-4B62-8EFC-F00A7EC5208E}" srcId="{1F9DD779-B3BD-4AA0-AB13-C38650497F17}" destId="{42E7FC2D-2B7E-43CA-A15D-5F66FCAB0376}" srcOrd="0" destOrd="0" parTransId="{6FF8BA45-6649-4B68-8C29-48F3C40B2F52}" sibTransId="{48EC2E3B-324A-48F1-A2EA-DEBB63BB0A6C}"/>
    <dgm:cxn modelId="{2C2E2CE4-4362-4904-88E8-FA515CD25A3E}" srcId="{0ADB959F-9F28-45C2-A672-7ED00D86DF70}" destId="{4038977B-7AE7-4F89-A1AF-E3BF478A512F}" srcOrd="1" destOrd="0" parTransId="{286BBA95-B79C-45E5-A062-7DAE44370780}" sibTransId="{8858A22E-40AE-4539-B87D-C04897EC3CAB}"/>
    <dgm:cxn modelId="{8384832A-3A0B-422D-8203-F588218540CB}" type="presOf" srcId="{0ADB959F-9F28-45C2-A672-7ED00D86DF70}" destId="{3265399B-BC14-49E3-9B65-605C20A0A563}" srcOrd="0" destOrd="0" presId="urn:diagrams.loki3.com/BracketList+Icon"/>
    <dgm:cxn modelId="{C7808709-B6A3-4EEA-918E-CAF3C3461FE4}" srcId="{1F9DD779-B3BD-4AA0-AB13-C38650497F17}" destId="{94EF06C5-D10C-4E82-8591-A41518A63741}" srcOrd="1" destOrd="0" parTransId="{F3B77353-5D14-401E-80C2-1EE8D9470BF9}" sibTransId="{56EA9165-40D0-4487-8085-3DFCA0119E13}"/>
    <dgm:cxn modelId="{9C1D5E67-4076-4E69-88C3-BBF88CD13624}" srcId="{426C4A32-26E5-4629-9D88-1162318419E4}" destId="{0ADB959F-9F28-45C2-A672-7ED00D86DF70}" srcOrd="3" destOrd="0" parTransId="{69B77398-2D68-4F89-AAFA-19A23C157FB3}" sibTransId="{EF4B8186-E0E6-458C-9D3B-267C11033752}"/>
    <dgm:cxn modelId="{B9DFE386-93C9-45B9-B36B-86E3E1C8F35D}" srcId="{0ADB959F-9F28-45C2-A672-7ED00D86DF70}" destId="{AB27B6BA-86F3-4609-9064-C39301225692}" srcOrd="2" destOrd="0" parTransId="{0238FBE4-2091-4842-9F1D-88EC5850809E}" sibTransId="{7E29F7C5-F20B-41F9-BC0E-3DF31EFB2ED6}"/>
    <dgm:cxn modelId="{E68C5B8E-547D-40D6-9DCE-F6CFD7DF9B7B}" type="presOf" srcId="{94EF06C5-D10C-4E82-8591-A41518A63741}" destId="{15E5D75E-3B36-4A58-8BE9-931EF235A6E1}" srcOrd="0" destOrd="1" presId="urn:diagrams.loki3.com/BracketList+Icon"/>
    <dgm:cxn modelId="{B7C578F1-8CE2-4AF2-81C3-3FE666CCB889}" type="presOf" srcId="{E18FA679-C340-414F-97A8-2AD9DDC996F2}" destId="{8F9952F8-B1A9-4540-925B-0EC7C52AAA8E}" srcOrd="0" destOrd="0" presId="urn:diagrams.loki3.com/BracketList+Icon"/>
    <dgm:cxn modelId="{0B8A280E-DA91-46CC-B22E-2E2E65536E72}" srcId="{426C4A32-26E5-4629-9D88-1162318419E4}" destId="{1F9DD779-B3BD-4AA0-AB13-C38650497F17}" srcOrd="2" destOrd="0" parTransId="{DFA3DED5-4C55-44FA-81F7-4696CEA92428}" sibTransId="{7A8DC637-E2FC-4171-AF82-97293C88AB29}"/>
    <dgm:cxn modelId="{B6CE68F1-354D-48AA-A353-4D7206C14F10}" srcId="{426C4A32-26E5-4629-9D88-1162318419E4}" destId="{064469A7-2962-4514-AE1B-48CAD74B89F5}" srcOrd="0" destOrd="0" parTransId="{0F211821-030A-4EBD-B54E-3554C274DEE9}" sibTransId="{7241934F-60BE-4D04-8C7C-C96DD0962BBB}"/>
    <dgm:cxn modelId="{B2ACEBD4-CE00-4F19-BCE3-B542E781E1F5}" type="presOf" srcId="{426C4A32-26E5-4629-9D88-1162318419E4}" destId="{1FF0C413-DD02-411B-A828-8F012F82E807}" srcOrd="0" destOrd="0" presId="urn:diagrams.loki3.com/BracketList+Icon"/>
    <dgm:cxn modelId="{379FA818-B5AE-4FB7-BEAB-8D5D84F6B6B4}" srcId="{064469A7-2962-4514-AE1B-48CAD74B89F5}" destId="{35DA1D30-9EC9-4EBE-9C91-9A643D32F9F5}" srcOrd="0" destOrd="0" parTransId="{549E60F3-BDB3-4FC6-A633-90881DA1F755}" sibTransId="{B99AD4D2-DC8D-441A-8483-3605EF280F8B}"/>
    <dgm:cxn modelId="{1D9590A3-332F-452F-9FAA-4A96B3427BA9}" type="presOf" srcId="{064469A7-2962-4514-AE1B-48CAD74B89F5}" destId="{AC37217A-60E8-4486-91D3-00ABFF0C9208}" srcOrd="0" destOrd="0" presId="urn:diagrams.loki3.com/BracketList+Icon"/>
    <dgm:cxn modelId="{94F4F7DD-43F4-4F67-8BDF-1976BAAA5963}" type="presParOf" srcId="{1FF0C413-DD02-411B-A828-8F012F82E807}" destId="{A1F70722-2FEC-43E3-9A23-B1F4E642EE64}" srcOrd="0" destOrd="0" presId="urn:diagrams.loki3.com/BracketList+Icon"/>
    <dgm:cxn modelId="{E0E5EBB4-E9D4-4A24-8DA4-DCD6F661972A}" type="presParOf" srcId="{A1F70722-2FEC-43E3-9A23-B1F4E642EE64}" destId="{AC37217A-60E8-4486-91D3-00ABFF0C9208}" srcOrd="0" destOrd="0" presId="urn:diagrams.loki3.com/BracketList+Icon"/>
    <dgm:cxn modelId="{7BDF2D03-C94C-41FD-9248-41A0540BB4AF}" type="presParOf" srcId="{A1F70722-2FEC-43E3-9A23-B1F4E642EE64}" destId="{2A249A0F-2B19-4081-B596-AFEEFB00AEC6}" srcOrd="1" destOrd="0" presId="urn:diagrams.loki3.com/BracketList+Icon"/>
    <dgm:cxn modelId="{2D35C4D1-55B7-45BF-B975-F2E17FE25AD6}" type="presParOf" srcId="{A1F70722-2FEC-43E3-9A23-B1F4E642EE64}" destId="{43A07CAD-EEC5-498B-87A9-364C1ED77674}" srcOrd="2" destOrd="0" presId="urn:diagrams.loki3.com/BracketList+Icon"/>
    <dgm:cxn modelId="{8E4C1DD3-9323-4BB0-9E4A-9A7D2C6245B7}" type="presParOf" srcId="{A1F70722-2FEC-43E3-9A23-B1F4E642EE64}" destId="{63C88672-20D1-4CF1-8191-18C470C93209}" srcOrd="3" destOrd="0" presId="urn:diagrams.loki3.com/BracketList+Icon"/>
    <dgm:cxn modelId="{A673180E-D9FC-45E6-AE7F-1366671A5178}" type="presParOf" srcId="{1FF0C413-DD02-411B-A828-8F012F82E807}" destId="{EA7DAB9F-CA13-4E53-A2E8-97396852C397}" srcOrd="1" destOrd="0" presId="urn:diagrams.loki3.com/BracketList+Icon"/>
    <dgm:cxn modelId="{D8D412E4-06FF-4104-B38C-B214A313A19D}" type="presParOf" srcId="{1FF0C413-DD02-411B-A828-8F012F82E807}" destId="{78A4640A-F2E8-4336-ADA0-249E00029259}" srcOrd="2" destOrd="0" presId="urn:diagrams.loki3.com/BracketList+Icon"/>
    <dgm:cxn modelId="{D7215B0E-52E0-469F-983B-F386DF46F22E}" type="presParOf" srcId="{78A4640A-F2E8-4336-ADA0-249E00029259}" destId="{48BF8545-62FB-48D0-BF6C-B1E5382DA192}" srcOrd="0" destOrd="0" presId="urn:diagrams.loki3.com/BracketList+Icon"/>
    <dgm:cxn modelId="{70A11DED-197A-4875-9EB4-0E3E929918E7}" type="presParOf" srcId="{78A4640A-F2E8-4336-ADA0-249E00029259}" destId="{F6011C12-C47D-48F7-AA89-AACEE724CC0F}" srcOrd="1" destOrd="0" presId="urn:diagrams.loki3.com/BracketList+Icon"/>
    <dgm:cxn modelId="{6E9C4EFC-60A5-41DB-81EC-3051CFE0FE14}" type="presParOf" srcId="{78A4640A-F2E8-4336-ADA0-249E00029259}" destId="{47238512-0D02-4A31-94B1-6D5B163C7BF5}" srcOrd="2" destOrd="0" presId="urn:diagrams.loki3.com/BracketList+Icon"/>
    <dgm:cxn modelId="{6D54E71A-E05F-46F2-950B-AD3076631AC9}" type="presParOf" srcId="{78A4640A-F2E8-4336-ADA0-249E00029259}" destId="{FFA7EAD1-296E-40CD-93AE-D6CD3F8417E2}" srcOrd="3" destOrd="0" presId="urn:diagrams.loki3.com/BracketList+Icon"/>
    <dgm:cxn modelId="{6D5DC65F-8563-4813-BD3C-C8BBBD2015DE}" type="presParOf" srcId="{1FF0C413-DD02-411B-A828-8F012F82E807}" destId="{E62F12E4-C6E3-4480-998F-B17D9120587B}" srcOrd="3" destOrd="0" presId="urn:diagrams.loki3.com/BracketList+Icon"/>
    <dgm:cxn modelId="{C81753B5-BAF6-4C4F-804B-FAFBB38F0694}" type="presParOf" srcId="{1FF0C413-DD02-411B-A828-8F012F82E807}" destId="{E640907A-ED0D-4B8F-A8E5-C5DA86E877F5}" srcOrd="4" destOrd="0" presId="urn:diagrams.loki3.com/BracketList+Icon"/>
    <dgm:cxn modelId="{D87920F1-7DC8-4024-9FAD-FBA23BD82ED5}" type="presParOf" srcId="{E640907A-ED0D-4B8F-A8E5-C5DA86E877F5}" destId="{3A7A7695-5B13-450E-98E6-6395BDCAAF31}" srcOrd="0" destOrd="0" presId="urn:diagrams.loki3.com/BracketList+Icon"/>
    <dgm:cxn modelId="{0F44B6DC-CB3A-45BB-B02D-4CEBDC584970}" type="presParOf" srcId="{E640907A-ED0D-4B8F-A8E5-C5DA86E877F5}" destId="{2F54AE2C-DE06-438F-A8AA-DDE061E301AA}" srcOrd="1" destOrd="0" presId="urn:diagrams.loki3.com/BracketList+Icon"/>
    <dgm:cxn modelId="{0E663B7D-9E13-46AA-8FF6-351508772B34}" type="presParOf" srcId="{E640907A-ED0D-4B8F-A8E5-C5DA86E877F5}" destId="{DF5E01D6-1158-4B96-B707-1E4299CF3401}" srcOrd="2" destOrd="0" presId="urn:diagrams.loki3.com/BracketList+Icon"/>
    <dgm:cxn modelId="{85DA0A5A-249E-4F24-877A-CF87C16FE6B5}" type="presParOf" srcId="{E640907A-ED0D-4B8F-A8E5-C5DA86E877F5}" destId="{15E5D75E-3B36-4A58-8BE9-931EF235A6E1}" srcOrd="3" destOrd="0" presId="urn:diagrams.loki3.com/BracketList+Icon"/>
    <dgm:cxn modelId="{55FE8881-44F4-4FFE-A3E8-894778E2DBFA}" type="presParOf" srcId="{1FF0C413-DD02-411B-A828-8F012F82E807}" destId="{45794429-5C7D-4A87-90C2-776BC3E4D3FC}" srcOrd="5" destOrd="0" presId="urn:diagrams.loki3.com/BracketList+Icon"/>
    <dgm:cxn modelId="{1E2F3EA1-91E8-4C69-8374-C195207A3565}" type="presParOf" srcId="{1FF0C413-DD02-411B-A828-8F012F82E807}" destId="{7AB7FEA2-7D00-4DA3-AC96-6A287E1D7443}" srcOrd="6" destOrd="0" presId="urn:diagrams.loki3.com/BracketList+Icon"/>
    <dgm:cxn modelId="{E0687351-7696-46A9-AC05-7AFDE24863B1}" type="presParOf" srcId="{7AB7FEA2-7D00-4DA3-AC96-6A287E1D7443}" destId="{3265399B-BC14-49E3-9B65-605C20A0A563}" srcOrd="0" destOrd="0" presId="urn:diagrams.loki3.com/BracketList+Icon"/>
    <dgm:cxn modelId="{F341DB58-9C2B-4DA1-B425-11823B3EB9AE}" type="presParOf" srcId="{7AB7FEA2-7D00-4DA3-AC96-6A287E1D7443}" destId="{22B9FB7D-296D-44AE-9DD2-23A0D7AF4879}" srcOrd="1" destOrd="0" presId="urn:diagrams.loki3.com/BracketList+Icon"/>
    <dgm:cxn modelId="{4683CE59-D09E-482A-9835-D14F6F52C2CB}" type="presParOf" srcId="{7AB7FEA2-7D00-4DA3-AC96-6A287E1D7443}" destId="{30F11A40-B457-44DA-A6D4-797AB82B39DF}" srcOrd="2" destOrd="0" presId="urn:diagrams.loki3.com/BracketList+Icon"/>
    <dgm:cxn modelId="{9221BB3E-291E-46DC-BA91-F2766AD43E09}" type="presParOf" srcId="{7AB7FEA2-7D00-4DA3-AC96-6A287E1D7443}" destId="{8F9952F8-B1A9-4540-925B-0EC7C52AAA8E}" srcOrd="3" destOrd="0" presId="urn:diagrams.loki3.com/BracketList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1" loCatId="list" qsTypeId="urn:microsoft.com/office/officeart/2005/8/quickstyle/simple1" qsCatId="simple" csTypeId="urn:microsoft.com/office/officeart/2005/8/colors/accent1_1" csCatId="accent1" phldr="1"/>
      <dgm:spPr/>
    </dgm:pt>
    <dgm:pt modelId="{E61B9CB5-9E27-4131-BDE3-F92AF674A67E}">
      <dgm:prSet custT="1"/>
      <dgm:spPr/>
      <dgm:t>
        <a:bodyPr/>
        <a:lstStyle/>
        <a:p>
          <a:pPr algn="just"/>
          <a:r>
            <a:rPr lang="es-CO" sz="2000" b="0" dirty="0" smtClean="0">
              <a:effectLst/>
            </a:rPr>
            <a:t>Acceso a los estudiantes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06B18235-CEB8-41FB-89BB-F680F942D127}" type="par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BAD095D-B658-4732-A797-BE6998370E02}" type="sib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E16CC87A-4BF8-4848-A6AB-771DBC333E37}">
      <dgm:prSet custT="1"/>
      <dgm:spPr/>
      <dgm:t>
        <a:bodyPr/>
        <a:lstStyle/>
        <a:p>
          <a:pPr algn="just"/>
          <a:r>
            <a:rPr lang="es-CO" sz="2000" b="0" smtClean="0">
              <a:effectLst/>
            </a:rPr>
            <a:t>Pertinencia</a:t>
          </a:r>
          <a:endParaRPr lang="es-ES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FE5D388-3772-4CED-92E4-C61D1CEBD489}" type="parTrans" cxnId="{A66E9D5B-A01C-4FA4-9A77-3072A03371BD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D86AE959-CEBD-47C0-8B78-1C74BFD54DD3}" type="sibTrans" cxnId="{A66E9D5B-A01C-4FA4-9A77-3072A03371BD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0F3D2FC6-11B2-4A0F-8DFF-D562826811A9}">
      <dgm:prSet custT="1"/>
      <dgm:spPr/>
      <dgm:t>
        <a:bodyPr/>
        <a:lstStyle/>
        <a:p>
          <a:pPr algn="just"/>
          <a:r>
            <a:rPr lang="es-CO" sz="2000" b="0" smtClean="0">
              <a:effectLst/>
            </a:rPr>
            <a:t>Calidad</a:t>
          </a:r>
          <a:endParaRPr lang="es-ES" sz="2000" b="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4154BD59-AD9F-4569-8F8B-46966FEBD8BF}" type="parTrans" cxnId="{288BE7CC-60A4-4EDA-AC0E-18996391292A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7411F498-1EDC-4459-9848-0695397C669A}" type="sibTrans" cxnId="{288BE7CC-60A4-4EDA-AC0E-18996391292A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EE4C659B-942D-4991-9752-BB356C89A7A7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Atención a los estudiantes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7EE46C33-8368-457F-93D9-66884FB169F3}" type="parTrans" cxnId="{22777967-5AE9-4FC3-85E9-B643889CB497}">
      <dgm:prSet/>
      <dgm:spPr/>
      <dgm:t>
        <a:bodyPr/>
        <a:lstStyle/>
        <a:p>
          <a:endParaRPr lang="es-CO" sz="1600"/>
        </a:p>
      </dgm:t>
    </dgm:pt>
    <dgm:pt modelId="{9549B012-3514-4E32-9A73-1571C87FE0D9}" type="sibTrans" cxnId="{22777967-5AE9-4FC3-85E9-B643889CB497}">
      <dgm:prSet/>
      <dgm:spPr/>
      <dgm:t>
        <a:bodyPr/>
        <a:lstStyle/>
        <a:p>
          <a:endParaRPr lang="es-CO" sz="1600"/>
        </a:p>
      </dgm:t>
    </dgm:pt>
    <dgm:pt modelId="{4F03F895-4F46-4D20-A581-662D4A2E8E4B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Gestión de infraestructura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4B4C5672-8616-47B8-A917-80A2F143CAC4}" type="parTrans" cxnId="{510FA9D0-589C-4ED4-86CC-E1205CB65875}">
      <dgm:prSet/>
      <dgm:spPr/>
      <dgm:t>
        <a:bodyPr/>
        <a:lstStyle/>
        <a:p>
          <a:endParaRPr lang="es-CO" sz="1600"/>
        </a:p>
      </dgm:t>
    </dgm:pt>
    <dgm:pt modelId="{B0279C1E-9554-46CC-8BBB-828A5FD21F72}" type="sibTrans" cxnId="{510FA9D0-589C-4ED4-86CC-E1205CB65875}">
      <dgm:prSet/>
      <dgm:spPr/>
      <dgm:t>
        <a:bodyPr/>
        <a:lstStyle/>
        <a:p>
          <a:endParaRPr lang="es-CO" sz="1600"/>
        </a:p>
      </dgm:t>
    </dgm:pt>
    <dgm:pt modelId="{917901F7-FD97-499E-8487-5A737FDADA44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Gestión Financiera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9F11C86F-E682-4A91-9D61-283009A4B193}" type="parTrans" cxnId="{BAB649FC-836E-4245-B4BC-3C1D8FF8C9AD}">
      <dgm:prSet/>
      <dgm:spPr/>
      <dgm:t>
        <a:bodyPr/>
        <a:lstStyle/>
        <a:p>
          <a:endParaRPr lang="es-CO" sz="1600"/>
        </a:p>
      </dgm:t>
    </dgm:pt>
    <dgm:pt modelId="{92F59769-5A1A-4C8D-BC8E-F289BBCB5AC0}" type="sibTrans" cxnId="{BAB649FC-836E-4245-B4BC-3C1D8FF8C9AD}">
      <dgm:prSet/>
      <dgm:spPr/>
      <dgm:t>
        <a:bodyPr/>
        <a:lstStyle/>
        <a:p>
          <a:endParaRPr lang="es-CO" sz="1600"/>
        </a:p>
      </dgm:t>
    </dgm:pt>
    <dgm:pt modelId="{76064E77-00C2-4805-B7A4-641C04EFBF42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Gestión institucional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29192EDD-42BE-4CAD-8D37-A2D936FBB0DF}" type="parTrans" cxnId="{3104753C-117B-4C84-A64E-BFD367622304}">
      <dgm:prSet/>
      <dgm:spPr/>
      <dgm:t>
        <a:bodyPr/>
        <a:lstStyle/>
        <a:p>
          <a:endParaRPr lang="es-CO" sz="1600"/>
        </a:p>
      </dgm:t>
    </dgm:pt>
    <dgm:pt modelId="{BEEDE0F7-966A-4CB9-BB7A-947615614EF7}" type="sibTrans" cxnId="{3104753C-117B-4C84-A64E-BFD367622304}">
      <dgm:prSet/>
      <dgm:spPr/>
      <dgm:t>
        <a:bodyPr/>
        <a:lstStyle/>
        <a:p>
          <a:endParaRPr lang="es-CO" sz="1600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D6F864FF-5319-415F-AC5B-62154A5BA0E5}" type="pres">
      <dgm:prSet presAssocID="{E61B9CB5-9E27-4131-BDE3-F92AF674A67E}" presName="composite" presStyleCnt="0"/>
      <dgm:spPr/>
    </dgm:pt>
    <dgm:pt modelId="{A06848A9-0673-48CE-9E8A-C7D28F82CB08}" type="pres">
      <dgm:prSet presAssocID="{E61B9CB5-9E27-4131-BDE3-F92AF674A67E}" presName="imgShp" presStyleLbl="fgImgPlace1" presStyleIdx="0" presStyleCnt="7"/>
      <dgm:spPr/>
    </dgm:pt>
    <dgm:pt modelId="{2CCCEE37-84CC-4FFB-BDD2-2EBFE568AA78}" type="pres">
      <dgm:prSet presAssocID="{E61B9CB5-9E27-4131-BDE3-F92AF674A67E}" presName="txShp" presStyleLbl="node1" presStyleIdx="0" presStyleCnt="7" custLinFactNeighborX="119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10434F6-8F83-4F50-8320-37B73A901959}" type="pres">
      <dgm:prSet presAssocID="{5BAD095D-B658-4732-A797-BE6998370E02}" presName="spacing" presStyleCnt="0"/>
      <dgm:spPr/>
    </dgm:pt>
    <dgm:pt modelId="{6B00F078-E6BA-4B4D-94CC-7F0093076955}" type="pres">
      <dgm:prSet presAssocID="{E16CC87A-4BF8-4848-A6AB-771DBC333E37}" presName="composite" presStyleCnt="0"/>
      <dgm:spPr/>
    </dgm:pt>
    <dgm:pt modelId="{F51A1092-1BF9-4BE6-9117-17E5E6F22E72}" type="pres">
      <dgm:prSet presAssocID="{E16CC87A-4BF8-4848-A6AB-771DBC333E37}" presName="imgShp" presStyleLbl="fgImgPlace1" presStyleIdx="1" presStyleCnt="7"/>
      <dgm:spPr/>
    </dgm:pt>
    <dgm:pt modelId="{DB193312-33B7-41DB-8266-60D47758DE09}" type="pres">
      <dgm:prSet presAssocID="{E16CC87A-4BF8-4848-A6AB-771DBC333E37}" presName="txShp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7FAB37-0DAC-497D-9FB5-847D05423313}" type="pres">
      <dgm:prSet presAssocID="{D86AE959-CEBD-47C0-8B78-1C74BFD54DD3}" presName="spacing" presStyleCnt="0"/>
      <dgm:spPr/>
    </dgm:pt>
    <dgm:pt modelId="{26A12002-7AB6-42F7-9917-43D873B8F4E2}" type="pres">
      <dgm:prSet presAssocID="{0F3D2FC6-11B2-4A0F-8DFF-D562826811A9}" presName="composite" presStyleCnt="0"/>
      <dgm:spPr/>
    </dgm:pt>
    <dgm:pt modelId="{D7E96CD7-291D-4F79-9F19-3452B2318A55}" type="pres">
      <dgm:prSet presAssocID="{0F3D2FC6-11B2-4A0F-8DFF-D562826811A9}" presName="imgShp" presStyleLbl="fgImgPlace1" presStyleIdx="2" presStyleCnt="7"/>
      <dgm:spPr/>
    </dgm:pt>
    <dgm:pt modelId="{DF18C1D2-6ADA-4641-9B24-CC4618FC4740}" type="pres">
      <dgm:prSet presAssocID="{0F3D2FC6-11B2-4A0F-8DFF-D562826811A9}" presName="txShp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4B806E2-7751-4E1B-A1FD-BB4B451AF68D}" type="pres">
      <dgm:prSet presAssocID="{7411F498-1EDC-4459-9848-0695397C669A}" presName="spacing" presStyleCnt="0"/>
      <dgm:spPr/>
    </dgm:pt>
    <dgm:pt modelId="{2BAB2A58-DE45-4943-8ECD-2A595F489FED}" type="pres">
      <dgm:prSet presAssocID="{EE4C659B-942D-4991-9752-BB356C89A7A7}" presName="composite" presStyleCnt="0"/>
      <dgm:spPr/>
    </dgm:pt>
    <dgm:pt modelId="{6288DD77-D563-41B6-9A71-BDEE5BB6B562}" type="pres">
      <dgm:prSet presAssocID="{EE4C659B-942D-4991-9752-BB356C89A7A7}" presName="imgShp" presStyleLbl="fgImgPlace1" presStyleIdx="3" presStyleCnt="7"/>
      <dgm:spPr/>
    </dgm:pt>
    <dgm:pt modelId="{4AE909C7-1A72-49A1-8605-F721FA41BE03}" type="pres">
      <dgm:prSet presAssocID="{EE4C659B-942D-4991-9752-BB356C89A7A7}" presName="txShp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EF19048-8733-4046-A383-876AF1B01704}" type="pres">
      <dgm:prSet presAssocID="{9549B012-3514-4E32-9A73-1571C87FE0D9}" presName="spacing" presStyleCnt="0"/>
      <dgm:spPr/>
    </dgm:pt>
    <dgm:pt modelId="{041F1D9A-3343-4E04-9732-47D3DD856877}" type="pres">
      <dgm:prSet presAssocID="{4F03F895-4F46-4D20-A581-662D4A2E8E4B}" presName="composite" presStyleCnt="0"/>
      <dgm:spPr/>
    </dgm:pt>
    <dgm:pt modelId="{5D277EAD-0FD1-43D3-AF2B-35C5DF3751DA}" type="pres">
      <dgm:prSet presAssocID="{4F03F895-4F46-4D20-A581-662D4A2E8E4B}" presName="imgShp" presStyleLbl="fgImgPlace1" presStyleIdx="4" presStyleCnt="7"/>
      <dgm:spPr/>
    </dgm:pt>
    <dgm:pt modelId="{EB613E25-42F8-4BAE-B401-6C6AF07BFF2C}" type="pres">
      <dgm:prSet presAssocID="{4F03F895-4F46-4D20-A581-662D4A2E8E4B}" presName="txShp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8FDDFC1-0B09-4D90-807C-1AC3E54EBC8D}" type="pres">
      <dgm:prSet presAssocID="{B0279C1E-9554-46CC-8BBB-828A5FD21F72}" presName="spacing" presStyleCnt="0"/>
      <dgm:spPr/>
    </dgm:pt>
    <dgm:pt modelId="{A57F083F-B40A-4735-93B6-38DFD84D72E3}" type="pres">
      <dgm:prSet presAssocID="{917901F7-FD97-499E-8487-5A737FDADA44}" presName="composite" presStyleCnt="0"/>
      <dgm:spPr/>
    </dgm:pt>
    <dgm:pt modelId="{B2854D78-6E94-43C3-A6BD-7F859875FB21}" type="pres">
      <dgm:prSet presAssocID="{917901F7-FD97-499E-8487-5A737FDADA44}" presName="imgShp" presStyleLbl="fgImgPlace1" presStyleIdx="5" presStyleCnt="7"/>
      <dgm:spPr/>
    </dgm:pt>
    <dgm:pt modelId="{426CCEF8-82D4-4B90-A6C9-5BCD7A6F2846}" type="pres">
      <dgm:prSet presAssocID="{917901F7-FD97-499E-8487-5A737FDADA44}" presName="txShp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AC33D1F-1AF1-401F-9FF9-29C369ACD863}" type="pres">
      <dgm:prSet presAssocID="{92F59769-5A1A-4C8D-BC8E-F289BBCB5AC0}" presName="spacing" presStyleCnt="0"/>
      <dgm:spPr/>
    </dgm:pt>
    <dgm:pt modelId="{CA00ACEF-386D-4A40-AC21-69B22517E45F}" type="pres">
      <dgm:prSet presAssocID="{76064E77-00C2-4805-B7A4-641C04EFBF42}" presName="composite" presStyleCnt="0"/>
      <dgm:spPr/>
    </dgm:pt>
    <dgm:pt modelId="{320DF2A9-02E9-4BB2-B169-9A778D9EF313}" type="pres">
      <dgm:prSet presAssocID="{76064E77-00C2-4805-B7A4-641C04EFBF42}" presName="imgShp" presStyleLbl="fgImgPlace1" presStyleIdx="6" presStyleCnt="7"/>
      <dgm:spPr/>
    </dgm:pt>
    <dgm:pt modelId="{70803A22-6498-4D4E-B0E1-07DE9D6E12E4}" type="pres">
      <dgm:prSet presAssocID="{76064E77-00C2-4805-B7A4-641C04EFBF42}" presName="txShp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A66E9D5B-A01C-4FA4-9A77-3072A03371BD}" srcId="{F6F251FE-E3B1-41D0-9AD4-59597E0F13C9}" destId="{E16CC87A-4BF8-4848-A6AB-771DBC333E37}" srcOrd="1" destOrd="0" parTransId="{EFE5D388-3772-4CED-92E4-C61D1CEBD489}" sibTransId="{D86AE959-CEBD-47C0-8B78-1C74BFD54DD3}"/>
    <dgm:cxn modelId="{0E18EDD9-35FC-40F3-AD7B-20B3CC07D106}" type="presOf" srcId="{0F3D2FC6-11B2-4A0F-8DFF-D562826811A9}" destId="{DF18C1D2-6ADA-4641-9B24-CC4618FC4740}" srcOrd="0" destOrd="0" presId="urn:microsoft.com/office/officeart/2005/8/layout/vList3#1"/>
    <dgm:cxn modelId="{64BFC5F2-76EF-4003-AE31-E09C1462814B}" type="presOf" srcId="{F6F251FE-E3B1-41D0-9AD4-59597E0F13C9}" destId="{33AC8322-AEC8-46B4-9E61-12DF1557F4F1}" srcOrd="0" destOrd="0" presId="urn:microsoft.com/office/officeart/2005/8/layout/vList3#1"/>
    <dgm:cxn modelId="{89C2AC89-BE87-4792-8AC8-46E3D5C963E3}" type="presOf" srcId="{EE4C659B-942D-4991-9752-BB356C89A7A7}" destId="{4AE909C7-1A72-49A1-8605-F721FA41BE03}" srcOrd="0" destOrd="0" presId="urn:microsoft.com/office/officeart/2005/8/layout/vList3#1"/>
    <dgm:cxn modelId="{8019B3B6-EDE0-4883-8A7F-CDB0943501D1}" srcId="{F6F251FE-E3B1-41D0-9AD4-59597E0F13C9}" destId="{E61B9CB5-9E27-4131-BDE3-F92AF674A67E}" srcOrd="0" destOrd="0" parTransId="{06B18235-CEB8-41FB-89BB-F680F942D127}" sibTransId="{5BAD095D-B658-4732-A797-BE6998370E02}"/>
    <dgm:cxn modelId="{BAB649FC-836E-4245-B4BC-3C1D8FF8C9AD}" srcId="{F6F251FE-E3B1-41D0-9AD4-59597E0F13C9}" destId="{917901F7-FD97-499E-8487-5A737FDADA44}" srcOrd="5" destOrd="0" parTransId="{9F11C86F-E682-4A91-9D61-283009A4B193}" sibTransId="{92F59769-5A1A-4C8D-BC8E-F289BBCB5AC0}"/>
    <dgm:cxn modelId="{BA9D9A4E-4A50-49C8-A2C1-EC21203A8C89}" type="presOf" srcId="{76064E77-00C2-4805-B7A4-641C04EFBF42}" destId="{70803A22-6498-4D4E-B0E1-07DE9D6E12E4}" srcOrd="0" destOrd="0" presId="urn:microsoft.com/office/officeart/2005/8/layout/vList3#1"/>
    <dgm:cxn modelId="{4FC69946-3528-4B47-ADE0-D74835181B9B}" type="presOf" srcId="{4F03F895-4F46-4D20-A581-662D4A2E8E4B}" destId="{EB613E25-42F8-4BAE-B401-6C6AF07BFF2C}" srcOrd="0" destOrd="0" presId="urn:microsoft.com/office/officeart/2005/8/layout/vList3#1"/>
    <dgm:cxn modelId="{510FA9D0-589C-4ED4-86CC-E1205CB65875}" srcId="{F6F251FE-E3B1-41D0-9AD4-59597E0F13C9}" destId="{4F03F895-4F46-4D20-A581-662D4A2E8E4B}" srcOrd="4" destOrd="0" parTransId="{4B4C5672-8616-47B8-A917-80A2F143CAC4}" sibTransId="{B0279C1E-9554-46CC-8BBB-828A5FD21F72}"/>
    <dgm:cxn modelId="{D0844487-B341-4A75-9661-604DFE3599E5}" type="presOf" srcId="{E61B9CB5-9E27-4131-BDE3-F92AF674A67E}" destId="{2CCCEE37-84CC-4FFB-BDD2-2EBFE568AA78}" srcOrd="0" destOrd="0" presId="urn:microsoft.com/office/officeart/2005/8/layout/vList3#1"/>
    <dgm:cxn modelId="{22777967-5AE9-4FC3-85E9-B643889CB497}" srcId="{F6F251FE-E3B1-41D0-9AD4-59597E0F13C9}" destId="{EE4C659B-942D-4991-9752-BB356C89A7A7}" srcOrd="3" destOrd="0" parTransId="{7EE46C33-8368-457F-93D9-66884FB169F3}" sibTransId="{9549B012-3514-4E32-9A73-1571C87FE0D9}"/>
    <dgm:cxn modelId="{C2BC6DBA-84A9-47C3-B42C-C4E19E1ED8E3}" type="presOf" srcId="{E16CC87A-4BF8-4848-A6AB-771DBC333E37}" destId="{DB193312-33B7-41DB-8266-60D47758DE09}" srcOrd="0" destOrd="0" presId="urn:microsoft.com/office/officeart/2005/8/layout/vList3#1"/>
    <dgm:cxn modelId="{3104753C-117B-4C84-A64E-BFD367622304}" srcId="{F6F251FE-E3B1-41D0-9AD4-59597E0F13C9}" destId="{76064E77-00C2-4805-B7A4-641C04EFBF42}" srcOrd="6" destOrd="0" parTransId="{29192EDD-42BE-4CAD-8D37-A2D936FBB0DF}" sibTransId="{BEEDE0F7-966A-4CB9-BB7A-947615614EF7}"/>
    <dgm:cxn modelId="{288BE7CC-60A4-4EDA-AC0E-18996391292A}" srcId="{F6F251FE-E3B1-41D0-9AD4-59597E0F13C9}" destId="{0F3D2FC6-11B2-4A0F-8DFF-D562826811A9}" srcOrd="2" destOrd="0" parTransId="{4154BD59-AD9F-4569-8F8B-46966FEBD8BF}" sibTransId="{7411F498-1EDC-4459-9848-0695397C669A}"/>
    <dgm:cxn modelId="{0F6C6F82-86EC-4BB8-984F-7364D81C3AAA}" type="presOf" srcId="{917901F7-FD97-499E-8487-5A737FDADA44}" destId="{426CCEF8-82D4-4B90-A6C9-5BCD7A6F2846}" srcOrd="0" destOrd="0" presId="urn:microsoft.com/office/officeart/2005/8/layout/vList3#1"/>
    <dgm:cxn modelId="{B7879CC9-4EA4-4B03-BB77-AEFCD72063D1}" type="presParOf" srcId="{33AC8322-AEC8-46B4-9E61-12DF1557F4F1}" destId="{D6F864FF-5319-415F-AC5B-62154A5BA0E5}" srcOrd="0" destOrd="0" presId="urn:microsoft.com/office/officeart/2005/8/layout/vList3#1"/>
    <dgm:cxn modelId="{0D728C5D-21E0-42E4-AFF5-18B1E398C83F}" type="presParOf" srcId="{D6F864FF-5319-415F-AC5B-62154A5BA0E5}" destId="{A06848A9-0673-48CE-9E8A-C7D28F82CB08}" srcOrd="0" destOrd="0" presId="urn:microsoft.com/office/officeart/2005/8/layout/vList3#1"/>
    <dgm:cxn modelId="{1E1557C7-73D8-4317-90FE-844658FA50E7}" type="presParOf" srcId="{D6F864FF-5319-415F-AC5B-62154A5BA0E5}" destId="{2CCCEE37-84CC-4FFB-BDD2-2EBFE568AA78}" srcOrd="1" destOrd="0" presId="urn:microsoft.com/office/officeart/2005/8/layout/vList3#1"/>
    <dgm:cxn modelId="{C982405F-3B0F-46D9-8C6E-A1288B195358}" type="presParOf" srcId="{33AC8322-AEC8-46B4-9E61-12DF1557F4F1}" destId="{D10434F6-8F83-4F50-8320-37B73A901959}" srcOrd="1" destOrd="0" presId="urn:microsoft.com/office/officeart/2005/8/layout/vList3#1"/>
    <dgm:cxn modelId="{E231979A-5309-49C7-A8DD-040831D579F2}" type="presParOf" srcId="{33AC8322-AEC8-46B4-9E61-12DF1557F4F1}" destId="{6B00F078-E6BA-4B4D-94CC-7F0093076955}" srcOrd="2" destOrd="0" presId="urn:microsoft.com/office/officeart/2005/8/layout/vList3#1"/>
    <dgm:cxn modelId="{FBD04489-DC72-48B4-B07C-4394DBA6AF72}" type="presParOf" srcId="{6B00F078-E6BA-4B4D-94CC-7F0093076955}" destId="{F51A1092-1BF9-4BE6-9117-17E5E6F22E72}" srcOrd="0" destOrd="0" presId="urn:microsoft.com/office/officeart/2005/8/layout/vList3#1"/>
    <dgm:cxn modelId="{EDA31C09-010A-4543-B98B-23436DFAA6B6}" type="presParOf" srcId="{6B00F078-E6BA-4B4D-94CC-7F0093076955}" destId="{DB193312-33B7-41DB-8266-60D47758DE09}" srcOrd="1" destOrd="0" presId="urn:microsoft.com/office/officeart/2005/8/layout/vList3#1"/>
    <dgm:cxn modelId="{5874C0C7-2CB6-4BC9-959B-9DE93A608197}" type="presParOf" srcId="{33AC8322-AEC8-46B4-9E61-12DF1557F4F1}" destId="{737FAB37-0DAC-497D-9FB5-847D05423313}" srcOrd="3" destOrd="0" presId="urn:microsoft.com/office/officeart/2005/8/layout/vList3#1"/>
    <dgm:cxn modelId="{1818DAB3-9F3B-4771-9A10-3FDC435034F4}" type="presParOf" srcId="{33AC8322-AEC8-46B4-9E61-12DF1557F4F1}" destId="{26A12002-7AB6-42F7-9917-43D873B8F4E2}" srcOrd="4" destOrd="0" presId="urn:microsoft.com/office/officeart/2005/8/layout/vList3#1"/>
    <dgm:cxn modelId="{760187CB-D157-4332-8027-C59E14B60346}" type="presParOf" srcId="{26A12002-7AB6-42F7-9917-43D873B8F4E2}" destId="{D7E96CD7-291D-4F79-9F19-3452B2318A55}" srcOrd="0" destOrd="0" presId="urn:microsoft.com/office/officeart/2005/8/layout/vList3#1"/>
    <dgm:cxn modelId="{194DC3CD-3F7F-43FA-9C6C-59446541473E}" type="presParOf" srcId="{26A12002-7AB6-42F7-9917-43D873B8F4E2}" destId="{DF18C1D2-6ADA-4641-9B24-CC4618FC4740}" srcOrd="1" destOrd="0" presId="urn:microsoft.com/office/officeart/2005/8/layout/vList3#1"/>
    <dgm:cxn modelId="{985DCDEB-135D-47E1-82D9-221A499CB587}" type="presParOf" srcId="{33AC8322-AEC8-46B4-9E61-12DF1557F4F1}" destId="{64B806E2-7751-4E1B-A1FD-BB4B451AF68D}" srcOrd="5" destOrd="0" presId="urn:microsoft.com/office/officeart/2005/8/layout/vList3#1"/>
    <dgm:cxn modelId="{CF93EB7D-6000-4FAC-B44E-799D72BC6F82}" type="presParOf" srcId="{33AC8322-AEC8-46B4-9E61-12DF1557F4F1}" destId="{2BAB2A58-DE45-4943-8ECD-2A595F489FED}" srcOrd="6" destOrd="0" presId="urn:microsoft.com/office/officeart/2005/8/layout/vList3#1"/>
    <dgm:cxn modelId="{4A5DB20D-557F-4D37-8CEC-21BC4BAB7AD7}" type="presParOf" srcId="{2BAB2A58-DE45-4943-8ECD-2A595F489FED}" destId="{6288DD77-D563-41B6-9A71-BDEE5BB6B562}" srcOrd="0" destOrd="0" presId="urn:microsoft.com/office/officeart/2005/8/layout/vList3#1"/>
    <dgm:cxn modelId="{7F0C9186-5B23-425F-A985-3390D1B44322}" type="presParOf" srcId="{2BAB2A58-DE45-4943-8ECD-2A595F489FED}" destId="{4AE909C7-1A72-49A1-8605-F721FA41BE03}" srcOrd="1" destOrd="0" presId="urn:microsoft.com/office/officeart/2005/8/layout/vList3#1"/>
    <dgm:cxn modelId="{D87AA971-0F99-4951-96A3-A9AB70376C7F}" type="presParOf" srcId="{33AC8322-AEC8-46B4-9E61-12DF1557F4F1}" destId="{5EF19048-8733-4046-A383-876AF1B01704}" srcOrd="7" destOrd="0" presId="urn:microsoft.com/office/officeart/2005/8/layout/vList3#1"/>
    <dgm:cxn modelId="{6112E8B6-AAD5-4687-81BE-5BB986DB5CB4}" type="presParOf" srcId="{33AC8322-AEC8-46B4-9E61-12DF1557F4F1}" destId="{041F1D9A-3343-4E04-9732-47D3DD856877}" srcOrd="8" destOrd="0" presId="urn:microsoft.com/office/officeart/2005/8/layout/vList3#1"/>
    <dgm:cxn modelId="{3E52388C-CF32-4D63-BC6A-B84B867741CF}" type="presParOf" srcId="{041F1D9A-3343-4E04-9732-47D3DD856877}" destId="{5D277EAD-0FD1-43D3-AF2B-35C5DF3751DA}" srcOrd="0" destOrd="0" presId="urn:microsoft.com/office/officeart/2005/8/layout/vList3#1"/>
    <dgm:cxn modelId="{FA90B586-35E1-44CD-A456-06C865AC7B71}" type="presParOf" srcId="{041F1D9A-3343-4E04-9732-47D3DD856877}" destId="{EB613E25-42F8-4BAE-B401-6C6AF07BFF2C}" srcOrd="1" destOrd="0" presId="urn:microsoft.com/office/officeart/2005/8/layout/vList3#1"/>
    <dgm:cxn modelId="{FFCC874D-75F2-424A-B9BB-33F937E5557F}" type="presParOf" srcId="{33AC8322-AEC8-46B4-9E61-12DF1557F4F1}" destId="{18FDDFC1-0B09-4D90-807C-1AC3E54EBC8D}" srcOrd="9" destOrd="0" presId="urn:microsoft.com/office/officeart/2005/8/layout/vList3#1"/>
    <dgm:cxn modelId="{2249BEA1-69CF-41DE-B4A6-19DDF1523926}" type="presParOf" srcId="{33AC8322-AEC8-46B4-9E61-12DF1557F4F1}" destId="{A57F083F-B40A-4735-93B6-38DFD84D72E3}" srcOrd="10" destOrd="0" presId="urn:microsoft.com/office/officeart/2005/8/layout/vList3#1"/>
    <dgm:cxn modelId="{CD35AD3D-3315-4315-9B35-10A9239706E2}" type="presParOf" srcId="{A57F083F-B40A-4735-93B6-38DFD84D72E3}" destId="{B2854D78-6E94-43C3-A6BD-7F859875FB21}" srcOrd="0" destOrd="0" presId="urn:microsoft.com/office/officeart/2005/8/layout/vList3#1"/>
    <dgm:cxn modelId="{84166421-FAB9-414C-A679-945D94E39ED3}" type="presParOf" srcId="{A57F083F-B40A-4735-93B6-38DFD84D72E3}" destId="{426CCEF8-82D4-4B90-A6C9-5BCD7A6F2846}" srcOrd="1" destOrd="0" presId="urn:microsoft.com/office/officeart/2005/8/layout/vList3#1"/>
    <dgm:cxn modelId="{18A29158-980E-4C8D-818D-78AF17C05B2F}" type="presParOf" srcId="{33AC8322-AEC8-46B4-9E61-12DF1557F4F1}" destId="{BAC33D1F-1AF1-401F-9FF9-29C369ACD863}" srcOrd="11" destOrd="0" presId="urn:microsoft.com/office/officeart/2005/8/layout/vList3#1"/>
    <dgm:cxn modelId="{E797016F-5DD5-44C9-B48B-AF996963135B}" type="presParOf" srcId="{33AC8322-AEC8-46B4-9E61-12DF1557F4F1}" destId="{CA00ACEF-386D-4A40-AC21-69B22517E45F}" srcOrd="12" destOrd="0" presId="urn:microsoft.com/office/officeart/2005/8/layout/vList3#1"/>
    <dgm:cxn modelId="{E2C61A9C-1C52-4C4E-84A5-15649DEBE709}" type="presParOf" srcId="{CA00ACEF-386D-4A40-AC21-69B22517E45F}" destId="{320DF2A9-02E9-4BB2-B169-9A778D9EF313}" srcOrd="0" destOrd="0" presId="urn:microsoft.com/office/officeart/2005/8/layout/vList3#1"/>
    <dgm:cxn modelId="{0039DEEA-5A8D-462A-BAA6-10944F913C3B}" type="presParOf" srcId="{CA00ACEF-386D-4A40-AC21-69B22517E45F}" destId="{70803A22-6498-4D4E-B0E1-07DE9D6E12E4}" srcOrd="1" destOrd="0" presId="urn:microsoft.com/office/officeart/2005/8/layout/vList3#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2" loCatId="list" qsTypeId="urn:microsoft.com/office/officeart/2005/8/quickstyle/simple1" qsCatId="simple" csTypeId="urn:microsoft.com/office/officeart/2005/8/colors/accent2_1" csCatId="accent2" phldr="1"/>
      <dgm:spPr/>
    </dgm:pt>
    <dgm:pt modelId="{E61B9CB5-9E27-4131-BDE3-F92AF674A67E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Relevanci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06B18235-CEB8-41FB-89BB-F680F942D127}" type="par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BAD095D-B658-4732-A797-BE6998370E02}" type="sib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A4CAAC57-2948-4A8B-9A3E-143CB870F120}">
      <dgm:prSet custT="1"/>
      <dgm:spPr/>
      <dgm:t>
        <a:bodyPr/>
        <a:lstStyle/>
        <a:p>
          <a:pPr algn="just"/>
          <a:r>
            <a:rPr lang="es-MX" sz="2000" u="none" dirty="0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3CEC7B2-E15E-4AD3-AF6B-8F248E3F0C5D}" type="parTrans" cxnId="{18BA46DA-54DB-4D6C-8B32-035558003E29}">
      <dgm:prSet/>
      <dgm:spPr/>
      <dgm:t>
        <a:bodyPr/>
        <a:lstStyle/>
        <a:p>
          <a:endParaRPr lang="es-CO" sz="1600"/>
        </a:p>
      </dgm:t>
    </dgm:pt>
    <dgm:pt modelId="{6CBC7A9F-A821-4A88-8770-3F2F2027B4DA}" type="sibTrans" cxnId="{18BA46DA-54DB-4D6C-8B32-035558003E29}">
      <dgm:prSet/>
      <dgm:spPr/>
      <dgm:t>
        <a:bodyPr/>
        <a:lstStyle/>
        <a:p>
          <a:endParaRPr lang="es-CO" sz="1600"/>
        </a:p>
      </dgm:t>
    </dgm:pt>
    <dgm:pt modelId="{B7DA0DE8-B0F5-489A-B5F3-6506F16D6BB3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61CC22C-6D70-4D8A-A1AC-2F5624DEED98}" type="parTrans" cxnId="{D56BCA9D-0AF1-41D2-8AB4-0B4E0D5BB4C2}">
      <dgm:prSet/>
      <dgm:spPr/>
      <dgm:t>
        <a:bodyPr/>
        <a:lstStyle/>
        <a:p>
          <a:endParaRPr lang="es-CO" sz="1600"/>
        </a:p>
      </dgm:t>
    </dgm:pt>
    <dgm:pt modelId="{42AAFE18-2731-4DCC-A4D2-30DA6669292C}" type="sibTrans" cxnId="{D56BCA9D-0AF1-41D2-8AB4-0B4E0D5BB4C2}">
      <dgm:prSet/>
      <dgm:spPr/>
      <dgm:t>
        <a:bodyPr/>
        <a:lstStyle/>
        <a:p>
          <a:endParaRPr lang="es-CO" sz="1600"/>
        </a:p>
      </dgm:t>
    </dgm:pt>
    <dgm:pt modelId="{8638BDF1-7503-4C4D-9C49-1D20DEA0BB1B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3877488F-18A1-4DF6-B093-E4F2A959A4AC}" type="parTrans" cxnId="{993C94AB-6296-426A-98CC-2901416D6C14}">
      <dgm:prSet/>
      <dgm:spPr/>
      <dgm:t>
        <a:bodyPr/>
        <a:lstStyle/>
        <a:p>
          <a:endParaRPr lang="es-CO" sz="1600"/>
        </a:p>
      </dgm:t>
    </dgm:pt>
    <dgm:pt modelId="{8EFD8100-D13C-4C5D-8966-325884ECB460}" type="sibTrans" cxnId="{993C94AB-6296-426A-98CC-2901416D6C14}">
      <dgm:prSet/>
      <dgm:spPr/>
      <dgm:t>
        <a:bodyPr/>
        <a:lstStyle/>
        <a:p>
          <a:endParaRPr lang="es-CO" sz="1600"/>
        </a:p>
      </dgm:t>
    </dgm:pt>
    <dgm:pt modelId="{7F91385E-E776-4514-8ADE-C527EC5F5390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7350911-7A9A-4D41-A299-77D4F91F383C}" type="parTrans" cxnId="{08B26BCD-324A-4ABA-94C6-43217B9F94D0}">
      <dgm:prSet/>
      <dgm:spPr/>
      <dgm:t>
        <a:bodyPr/>
        <a:lstStyle/>
        <a:p>
          <a:endParaRPr lang="es-CO" sz="1600"/>
        </a:p>
      </dgm:t>
    </dgm:pt>
    <dgm:pt modelId="{62D8C9FA-AF3F-4C27-BB0A-E042E815A947}" type="sibTrans" cxnId="{08B26BCD-324A-4ABA-94C6-43217B9F94D0}">
      <dgm:prSet/>
      <dgm:spPr/>
      <dgm:t>
        <a:bodyPr/>
        <a:lstStyle/>
        <a:p>
          <a:endParaRPr lang="es-CO" sz="1600"/>
        </a:p>
      </dgm:t>
    </dgm:pt>
    <dgm:pt modelId="{8AFBA346-F076-49DF-8A94-E9E04D59A28E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A6342655-4FDE-4DE2-AB71-DD7BFEEB5D83}" type="parTrans" cxnId="{77EBC404-0F12-4B6E-AB57-72AD99BABF32}">
      <dgm:prSet/>
      <dgm:spPr/>
      <dgm:t>
        <a:bodyPr/>
        <a:lstStyle/>
        <a:p>
          <a:endParaRPr lang="es-CO" sz="1600"/>
        </a:p>
      </dgm:t>
    </dgm:pt>
    <dgm:pt modelId="{DD1056A1-F291-404A-9635-D744F2568873}" type="sibTrans" cxnId="{77EBC404-0F12-4B6E-AB57-72AD99BABF32}">
      <dgm:prSet/>
      <dgm:spPr/>
      <dgm:t>
        <a:bodyPr/>
        <a:lstStyle/>
        <a:p>
          <a:endParaRPr lang="es-CO" sz="1600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D6F864FF-5319-415F-AC5B-62154A5BA0E5}" type="pres">
      <dgm:prSet presAssocID="{E61B9CB5-9E27-4131-BDE3-F92AF674A67E}" presName="composite" presStyleCnt="0"/>
      <dgm:spPr/>
    </dgm:pt>
    <dgm:pt modelId="{A06848A9-0673-48CE-9E8A-C7D28F82CB08}" type="pres">
      <dgm:prSet presAssocID="{E61B9CB5-9E27-4131-BDE3-F92AF674A67E}" presName="imgShp" presStyleLbl="fgImgPlace1" presStyleIdx="0" presStyleCnt="6"/>
      <dgm:spPr/>
    </dgm:pt>
    <dgm:pt modelId="{2CCCEE37-84CC-4FFB-BDD2-2EBFE568AA78}" type="pres">
      <dgm:prSet presAssocID="{E61B9CB5-9E27-4131-BDE3-F92AF674A67E}" presName="txShp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10434F6-8F83-4F50-8320-37B73A901959}" type="pres">
      <dgm:prSet presAssocID="{5BAD095D-B658-4732-A797-BE6998370E02}" presName="spacing" presStyleCnt="0"/>
      <dgm:spPr/>
    </dgm:pt>
    <dgm:pt modelId="{65FC4E71-C6FC-415D-AE48-2E7BB660DED7}" type="pres">
      <dgm:prSet presAssocID="{A4CAAC57-2948-4A8B-9A3E-143CB870F120}" presName="composite" presStyleCnt="0"/>
      <dgm:spPr/>
    </dgm:pt>
    <dgm:pt modelId="{D6AB906A-08BF-444F-AD94-8F4F589D9748}" type="pres">
      <dgm:prSet presAssocID="{A4CAAC57-2948-4A8B-9A3E-143CB870F120}" presName="imgShp" presStyleLbl="fgImgPlace1" presStyleIdx="1" presStyleCnt="6"/>
      <dgm:spPr/>
    </dgm:pt>
    <dgm:pt modelId="{1FDFC23A-E9FA-4EFC-95DC-F052523EAEAB}" type="pres">
      <dgm:prSet presAssocID="{A4CAAC57-2948-4A8B-9A3E-143CB870F120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85D9726-8C81-4FED-B35A-3542414A16AF}" type="pres">
      <dgm:prSet presAssocID="{6CBC7A9F-A821-4A88-8770-3F2F2027B4DA}" presName="spacing" presStyleCnt="0"/>
      <dgm:spPr/>
    </dgm:pt>
    <dgm:pt modelId="{44484ADB-A5BB-4EA3-8D4D-0F530366E32D}" type="pres">
      <dgm:prSet presAssocID="{B7DA0DE8-B0F5-489A-B5F3-6506F16D6BB3}" presName="composite" presStyleCnt="0"/>
      <dgm:spPr/>
    </dgm:pt>
    <dgm:pt modelId="{4B922227-45CE-4E2F-B288-CE179C39C995}" type="pres">
      <dgm:prSet presAssocID="{B7DA0DE8-B0F5-489A-B5F3-6506F16D6BB3}" presName="imgShp" presStyleLbl="fgImgPlace1" presStyleIdx="2" presStyleCnt="6"/>
      <dgm:spPr/>
    </dgm:pt>
    <dgm:pt modelId="{BA81C47D-A3FB-4A37-9F8B-75D10D6E8A00}" type="pres">
      <dgm:prSet presAssocID="{B7DA0DE8-B0F5-489A-B5F3-6506F16D6BB3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6926B26-96CC-440C-95B9-26348BB86E54}" type="pres">
      <dgm:prSet presAssocID="{42AAFE18-2731-4DCC-A4D2-30DA6669292C}" presName="spacing" presStyleCnt="0"/>
      <dgm:spPr/>
    </dgm:pt>
    <dgm:pt modelId="{8BBA52C9-1F2F-4FA1-B124-AB2DE3478384}" type="pres">
      <dgm:prSet presAssocID="{8638BDF1-7503-4C4D-9C49-1D20DEA0BB1B}" presName="composite" presStyleCnt="0"/>
      <dgm:spPr/>
    </dgm:pt>
    <dgm:pt modelId="{3F7AA024-1F19-4421-9CF0-A820B84FFCBF}" type="pres">
      <dgm:prSet presAssocID="{8638BDF1-7503-4C4D-9C49-1D20DEA0BB1B}" presName="imgShp" presStyleLbl="fgImgPlace1" presStyleIdx="3" presStyleCnt="6"/>
      <dgm:spPr/>
    </dgm:pt>
    <dgm:pt modelId="{415F9641-0CCC-44A1-A251-AC2E59AC5AD1}" type="pres">
      <dgm:prSet presAssocID="{8638BDF1-7503-4C4D-9C49-1D20DEA0BB1B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71FB116-F1C8-45E6-A512-9BF90567F51D}" type="pres">
      <dgm:prSet presAssocID="{8EFD8100-D13C-4C5D-8966-325884ECB460}" presName="spacing" presStyleCnt="0"/>
      <dgm:spPr/>
    </dgm:pt>
    <dgm:pt modelId="{E603B523-0895-4F46-AA5E-C571E55357A1}" type="pres">
      <dgm:prSet presAssocID="{8AFBA346-F076-49DF-8A94-E9E04D59A28E}" presName="composite" presStyleCnt="0"/>
      <dgm:spPr/>
    </dgm:pt>
    <dgm:pt modelId="{BA7EA86A-870E-48D7-9790-E8125ECB2E09}" type="pres">
      <dgm:prSet presAssocID="{8AFBA346-F076-49DF-8A94-E9E04D59A28E}" presName="imgShp" presStyleLbl="fgImgPlace1" presStyleIdx="4" presStyleCnt="6"/>
      <dgm:spPr/>
    </dgm:pt>
    <dgm:pt modelId="{F396FCAF-D882-47BB-B229-C8C8749A112D}" type="pres">
      <dgm:prSet presAssocID="{8AFBA346-F076-49DF-8A94-E9E04D59A28E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6785992-A178-46BB-9BD0-E28386018F19}" type="pres">
      <dgm:prSet presAssocID="{DD1056A1-F291-404A-9635-D744F2568873}" presName="spacing" presStyleCnt="0"/>
      <dgm:spPr/>
    </dgm:pt>
    <dgm:pt modelId="{F0608597-5960-4854-B976-49EBC13EA56D}" type="pres">
      <dgm:prSet presAssocID="{7F91385E-E776-4514-8ADE-C527EC5F5390}" presName="composite" presStyleCnt="0"/>
      <dgm:spPr/>
    </dgm:pt>
    <dgm:pt modelId="{84FEFB6A-981F-4DA3-9096-A5A1C6AD2A85}" type="pres">
      <dgm:prSet presAssocID="{7F91385E-E776-4514-8ADE-C527EC5F5390}" presName="imgShp" presStyleLbl="fgImgPlace1" presStyleIdx="5" presStyleCnt="6"/>
      <dgm:spPr/>
    </dgm:pt>
    <dgm:pt modelId="{02611F49-B841-4787-8EDC-56CB38E0980C}" type="pres">
      <dgm:prSet presAssocID="{7F91385E-E776-4514-8ADE-C527EC5F5390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8019B3B6-EDE0-4883-8A7F-CDB0943501D1}" srcId="{F6F251FE-E3B1-41D0-9AD4-59597E0F13C9}" destId="{E61B9CB5-9E27-4131-BDE3-F92AF674A67E}" srcOrd="0" destOrd="0" parTransId="{06B18235-CEB8-41FB-89BB-F680F942D127}" sibTransId="{5BAD095D-B658-4732-A797-BE6998370E02}"/>
    <dgm:cxn modelId="{D56BCA9D-0AF1-41D2-8AB4-0B4E0D5BB4C2}" srcId="{F6F251FE-E3B1-41D0-9AD4-59597E0F13C9}" destId="{B7DA0DE8-B0F5-489A-B5F3-6506F16D6BB3}" srcOrd="2" destOrd="0" parTransId="{E61CC22C-6D70-4D8A-A1AC-2F5624DEED98}" sibTransId="{42AAFE18-2731-4DCC-A4D2-30DA6669292C}"/>
    <dgm:cxn modelId="{D56994CA-92AC-4D73-8673-9010ED03C3C3}" type="presOf" srcId="{A4CAAC57-2948-4A8B-9A3E-143CB870F120}" destId="{1FDFC23A-E9FA-4EFC-95DC-F052523EAEAB}" srcOrd="0" destOrd="0" presId="urn:microsoft.com/office/officeart/2005/8/layout/vList3#2"/>
    <dgm:cxn modelId="{993C94AB-6296-426A-98CC-2901416D6C14}" srcId="{F6F251FE-E3B1-41D0-9AD4-59597E0F13C9}" destId="{8638BDF1-7503-4C4D-9C49-1D20DEA0BB1B}" srcOrd="3" destOrd="0" parTransId="{3877488F-18A1-4DF6-B093-E4F2A959A4AC}" sibTransId="{8EFD8100-D13C-4C5D-8966-325884ECB460}"/>
    <dgm:cxn modelId="{08B26BCD-324A-4ABA-94C6-43217B9F94D0}" srcId="{F6F251FE-E3B1-41D0-9AD4-59597E0F13C9}" destId="{7F91385E-E776-4514-8ADE-C527EC5F5390}" srcOrd="5" destOrd="0" parTransId="{E7350911-7A9A-4D41-A299-77D4F91F383C}" sibTransId="{62D8C9FA-AF3F-4C27-BB0A-E042E815A947}"/>
    <dgm:cxn modelId="{18BA46DA-54DB-4D6C-8B32-035558003E29}" srcId="{F6F251FE-E3B1-41D0-9AD4-59597E0F13C9}" destId="{A4CAAC57-2948-4A8B-9A3E-143CB870F120}" srcOrd="1" destOrd="0" parTransId="{E3CEC7B2-E15E-4AD3-AF6B-8F248E3F0C5D}" sibTransId="{6CBC7A9F-A821-4A88-8770-3F2F2027B4DA}"/>
    <dgm:cxn modelId="{74775ACC-BC61-44AB-A37A-E719A5A74D05}" type="presOf" srcId="{8AFBA346-F076-49DF-8A94-E9E04D59A28E}" destId="{F396FCAF-D882-47BB-B229-C8C8749A112D}" srcOrd="0" destOrd="0" presId="urn:microsoft.com/office/officeart/2005/8/layout/vList3#2"/>
    <dgm:cxn modelId="{3EB7D032-0BEE-4F8E-B209-BC7DF30343CF}" type="presOf" srcId="{8638BDF1-7503-4C4D-9C49-1D20DEA0BB1B}" destId="{415F9641-0CCC-44A1-A251-AC2E59AC5AD1}" srcOrd="0" destOrd="0" presId="urn:microsoft.com/office/officeart/2005/8/layout/vList3#2"/>
    <dgm:cxn modelId="{77EBC404-0F12-4B6E-AB57-72AD99BABF32}" srcId="{F6F251FE-E3B1-41D0-9AD4-59597E0F13C9}" destId="{8AFBA346-F076-49DF-8A94-E9E04D59A28E}" srcOrd="4" destOrd="0" parTransId="{A6342655-4FDE-4DE2-AB71-DD7BFEEB5D83}" sibTransId="{DD1056A1-F291-404A-9635-D744F2568873}"/>
    <dgm:cxn modelId="{91075343-1609-4FEF-A433-5F01EF464B7D}" type="presOf" srcId="{E61B9CB5-9E27-4131-BDE3-F92AF674A67E}" destId="{2CCCEE37-84CC-4FFB-BDD2-2EBFE568AA78}" srcOrd="0" destOrd="0" presId="urn:microsoft.com/office/officeart/2005/8/layout/vList3#2"/>
    <dgm:cxn modelId="{5601E63F-DD3C-4F8F-99AA-3458554DD748}" type="presOf" srcId="{B7DA0DE8-B0F5-489A-B5F3-6506F16D6BB3}" destId="{BA81C47D-A3FB-4A37-9F8B-75D10D6E8A00}" srcOrd="0" destOrd="0" presId="urn:microsoft.com/office/officeart/2005/8/layout/vList3#2"/>
    <dgm:cxn modelId="{7046933F-DF0B-4861-9736-9B9A67501B18}" type="presOf" srcId="{7F91385E-E776-4514-8ADE-C527EC5F5390}" destId="{02611F49-B841-4787-8EDC-56CB38E0980C}" srcOrd="0" destOrd="0" presId="urn:microsoft.com/office/officeart/2005/8/layout/vList3#2"/>
    <dgm:cxn modelId="{5068A198-F18A-4755-83C6-D1CDE4A51E4F}" type="presOf" srcId="{F6F251FE-E3B1-41D0-9AD4-59597E0F13C9}" destId="{33AC8322-AEC8-46B4-9E61-12DF1557F4F1}" srcOrd="0" destOrd="0" presId="urn:microsoft.com/office/officeart/2005/8/layout/vList3#2"/>
    <dgm:cxn modelId="{E48ED118-1AD8-45E6-940F-251AE05ECF30}" type="presParOf" srcId="{33AC8322-AEC8-46B4-9E61-12DF1557F4F1}" destId="{D6F864FF-5319-415F-AC5B-62154A5BA0E5}" srcOrd="0" destOrd="0" presId="urn:microsoft.com/office/officeart/2005/8/layout/vList3#2"/>
    <dgm:cxn modelId="{558794DE-CD42-4751-83F7-1563FE50D98D}" type="presParOf" srcId="{D6F864FF-5319-415F-AC5B-62154A5BA0E5}" destId="{A06848A9-0673-48CE-9E8A-C7D28F82CB08}" srcOrd="0" destOrd="0" presId="urn:microsoft.com/office/officeart/2005/8/layout/vList3#2"/>
    <dgm:cxn modelId="{868243B8-C063-4ADA-915C-3339F503B686}" type="presParOf" srcId="{D6F864FF-5319-415F-AC5B-62154A5BA0E5}" destId="{2CCCEE37-84CC-4FFB-BDD2-2EBFE568AA78}" srcOrd="1" destOrd="0" presId="urn:microsoft.com/office/officeart/2005/8/layout/vList3#2"/>
    <dgm:cxn modelId="{9DE05F02-AFF3-4987-B8BC-89442851D8B6}" type="presParOf" srcId="{33AC8322-AEC8-46B4-9E61-12DF1557F4F1}" destId="{D10434F6-8F83-4F50-8320-37B73A901959}" srcOrd="1" destOrd="0" presId="urn:microsoft.com/office/officeart/2005/8/layout/vList3#2"/>
    <dgm:cxn modelId="{A59CBD72-A6DE-47DC-A165-3DF3BC88D609}" type="presParOf" srcId="{33AC8322-AEC8-46B4-9E61-12DF1557F4F1}" destId="{65FC4E71-C6FC-415D-AE48-2E7BB660DED7}" srcOrd="2" destOrd="0" presId="urn:microsoft.com/office/officeart/2005/8/layout/vList3#2"/>
    <dgm:cxn modelId="{7D023145-45CB-4039-83F3-88FBF768D4BF}" type="presParOf" srcId="{65FC4E71-C6FC-415D-AE48-2E7BB660DED7}" destId="{D6AB906A-08BF-444F-AD94-8F4F589D9748}" srcOrd="0" destOrd="0" presId="urn:microsoft.com/office/officeart/2005/8/layout/vList3#2"/>
    <dgm:cxn modelId="{1BE19117-A77D-4D2C-AC0B-8C4F95B450EC}" type="presParOf" srcId="{65FC4E71-C6FC-415D-AE48-2E7BB660DED7}" destId="{1FDFC23A-E9FA-4EFC-95DC-F052523EAEAB}" srcOrd="1" destOrd="0" presId="urn:microsoft.com/office/officeart/2005/8/layout/vList3#2"/>
    <dgm:cxn modelId="{D024A7C9-9490-46E7-A983-23722D0F5A64}" type="presParOf" srcId="{33AC8322-AEC8-46B4-9E61-12DF1557F4F1}" destId="{E85D9726-8C81-4FED-B35A-3542414A16AF}" srcOrd="3" destOrd="0" presId="urn:microsoft.com/office/officeart/2005/8/layout/vList3#2"/>
    <dgm:cxn modelId="{DCCEE6A2-951A-410F-8458-C65E55D474B7}" type="presParOf" srcId="{33AC8322-AEC8-46B4-9E61-12DF1557F4F1}" destId="{44484ADB-A5BB-4EA3-8D4D-0F530366E32D}" srcOrd="4" destOrd="0" presId="urn:microsoft.com/office/officeart/2005/8/layout/vList3#2"/>
    <dgm:cxn modelId="{15E85B6A-B21D-4439-9C29-C1914C491A2B}" type="presParOf" srcId="{44484ADB-A5BB-4EA3-8D4D-0F530366E32D}" destId="{4B922227-45CE-4E2F-B288-CE179C39C995}" srcOrd="0" destOrd="0" presId="urn:microsoft.com/office/officeart/2005/8/layout/vList3#2"/>
    <dgm:cxn modelId="{12B931EF-979E-431D-A223-6B48F47108BC}" type="presParOf" srcId="{44484ADB-A5BB-4EA3-8D4D-0F530366E32D}" destId="{BA81C47D-A3FB-4A37-9F8B-75D10D6E8A00}" srcOrd="1" destOrd="0" presId="urn:microsoft.com/office/officeart/2005/8/layout/vList3#2"/>
    <dgm:cxn modelId="{1F52C082-37DA-4093-9D12-BA1848A9F281}" type="presParOf" srcId="{33AC8322-AEC8-46B4-9E61-12DF1557F4F1}" destId="{16926B26-96CC-440C-95B9-26348BB86E54}" srcOrd="5" destOrd="0" presId="urn:microsoft.com/office/officeart/2005/8/layout/vList3#2"/>
    <dgm:cxn modelId="{ED8503FA-127B-4611-902A-E2AC6AB69C60}" type="presParOf" srcId="{33AC8322-AEC8-46B4-9E61-12DF1557F4F1}" destId="{8BBA52C9-1F2F-4FA1-B124-AB2DE3478384}" srcOrd="6" destOrd="0" presId="urn:microsoft.com/office/officeart/2005/8/layout/vList3#2"/>
    <dgm:cxn modelId="{54F823A7-57CF-4959-8DE5-EED01234F300}" type="presParOf" srcId="{8BBA52C9-1F2F-4FA1-B124-AB2DE3478384}" destId="{3F7AA024-1F19-4421-9CF0-A820B84FFCBF}" srcOrd="0" destOrd="0" presId="urn:microsoft.com/office/officeart/2005/8/layout/vList3#2"/>
    <dgm:cxn modelId="{548B47E2-BB1E-47E6-B70A-99F5C636CFF4}" type="presParOf" srcId="{8BBA52C9-1F2F-4FA1-B124-AB2DE3478384}" destId="{415F9641-0CCC-44A1-A251-AC2E59AC5AD1}" srcOrd="1" destOrd="0" presId="urn:microsoft.com/office/officeart/2005/8/layout/vList3#2"/>
    <dgm:cxn modelId="{BB1914ED-6170-451C-818B-3F092F42F91C}" type="presParOf" srcId="{33AC8322-AEC8-46B4-9E61-12DF1557F4F1}" destId="{E71FB116-F1C8-45E6-A512-9BF90567F51D}" srcOrd="7" destOrd="0" presId="urn:microsoft.com/office/officeart/2005/8/layout/vList3#2"/>
    <dgm:cxn modelId="{D523A224-0737-4329-BB55-8A2BDA559E81}" type="presParOf" srcId="{33AC8322-AEC8-46B4-9E61-12DF1557F4F1}" destId="{E603B523-0895-4F46-AA5E-C571E55357A1}" srcOrd="8" destOrd="0" presId="urn:microsoft.com/office/officeart/2005/8/layout/vList3#2"/>
    <dgm:cxn modelId="{E67C5783-0042-44E6-9619-EC350EC135BA}" type="presParOf" srcId="{E603B523-0895-4F46-AA5E-C571E55357A1}" destId="{BA7EA86A-870E-48D7-9790-E8125ECB2E09}" srcOrd="0" destOrd="0" presId="urn:microsoft.com/office/officeart/2005/8/layout/vList3#2"/>
    <dgm:cxn modelId="{2BCEAA4B-02CB-45A4-94F9-4E1505B5B326}" type="presParOf" srcId="{E603B523-0895-4F46-AA5E-C571E55357A1}" destId="{F396FCAF-D882-47BB-B229-C8C8749A112D}" srcOrd="1" destOrd="0" presId="urn:microsoft.com/office/officeart/2005/8/layout/vList3#2"/>
    <dgm:cxn modelId="{4DA1CB0D-1828-472E-8B64-0C22DAD928A2}" type="presParOf" srcId="{33AC8322-AEC8-46B4-9E61-12DF1557F4F1}" destId="{26785992-A178-46BB-9BD0-E28386018F19}" srcOrd="9" destOrd="0" presId="urn:microsoft.com/office/officeart/2005/8/layout/vList3#2"/>
    <dgm:cxn modelId="{267750FF-CE0F-4FF4-A959-3069EA93DE14}" type="presParOf" srcId="{33AC8322-AEC8-46B4-9E61-12DF1557F4F1}" destId="{F0608597-5960-4854-B976-49EBC13EA56D}" srcOrd="10" destOrd="0" presId="urn:microsoft.com/office/officeart/2005/8/layout/vList3#2"/>
    <dgm:cxn modelId="{7249C944-CFFC-4849-9F77-172C2CF64E85}" type="presParOf" srcId="{F0608597-5960-4854-B976-49EBC13EA56D}" destId="{84FEFB6A-981F-4DA3-9096-A5A1C6AD2A85}" srcOrd="0" destOrd="0" presId="urn:microsoft.com/office/officeart/2005/8/layout/vList3#2"/>
    <dgm:cxn modelId="{5EB4C290-B0A4-4504-BCA7-25154AF636D2}" type="presParOf" srcId="{F0608597-5960-4854-B976-49EBC13EA56D}" destId="{02611F49-B841-4787-8EDC-56CB38E0980C}" srcOrd="1" destOrd="0" presId="urn:microsoft.com/office/officeart/2005/8/layout/vList3#2"/>
  </dgm:cxnLst>
  <dgm:bg>
    <a:noFill/>
  </dgm:bg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E4863F-4772-4276-B0EA-635687C425DA}">
      <dsp:nvSpPr>
        <dsp:cNvPr id="0" name=""/>
        <dsp:cNvSpPr/>
      </dsp:nvSpPr>
      <dsp:spPr>
        <a:xfrm>
          <a:off x="3984014" y="771616"/>
          <a:ext cx="91440" cy="490772"/>
        </a:xfrm>
        <a:custGeom>
          <a:avLst/>
          <a:gdLst/>
          <a:ahLst/>
          <a:cxnLst/>
          <a:rect l="0" t="0" r="0" b="0"/>
          <a:pathLst>
            <a:path>
              <a:moveTo>
                <a:pt x="134918" y="0"/>
              </a:moveTo>
              <a:lnTo>
                <a:pt x="134918" y="490772"/>
              </a:lnTo>
              <a:lnTo>
                <a:pt x="45720" y="490772"/>
              </a:lnTo>
            </a:path>
          </a:pathLst>
        </a:custGeom>
        <a:noFill/>
        <a:ln w="158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4C1698-4808-47DA-A837-7D0CEA5B37B5}">
      <dsp:nvSpPr>
        <dsp:cNvPr id="0" name=""/>
        <dsp:cNvSpPr/>
      </dsp:nvSpPr>
      <dsp:spPr>
        <a:xfrm>
          <a:off x="4118932" y="771616"/>
          <a:ext cx="902434" cy="2503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0888"/>
              </a:lnTo>
              <a:lnTo>
                <a:pt x="902434" y="190888"/>
              </a:lnTo>
              <a:lnTo>
                <a:pt x="902434" y="250357"/>
              </a:lnTo>
            </a:path>
          </a:pathLst>
        </a:custGeom>
        <a:noFill/>
        <a:ln w="158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E908E8-C3D2-4BA2-8786-FBAC0A967571}">
      <dsp:nvSpPr>
        <dsp:cNvPr id="0" name=""/>
        <dsp:cNvSpPr/>
      </dsp:nvSpPr>
      <dsp:spPr>
        <a:xfrm>
          <a:off x="3991719" y="771616"/>
          <a:ext cx="127213" cy="981219"/>
        </a:xfrm>
        <a:custGeom>
          <a:avLst/>
          <a:gdLst/>
          <a:ahLst/>
          <a:cxnLst/>
          <a:rect l="0" t="0" r="0" b="0"/>
          <a:pathLst>
            <a:path>
              <a:moveTo>
                <a:pt x="127213" y="0"/>
              </a:moveTo>
              <a:lnTo>
                <a:pt x="127213" y="921750"/>
              </a:lnTo>
              <a:lnTo>
                <a:pt x="0" y="921750"/>
              </a:lnTo>
              <a:lnTo>
                <a:pt x="0" y="981219"/>
              </a:lnTo>
            </a:path>
          </a:pathLst>
        </a:custGeom>
        <a:noFill/>
        <a:ln w="158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100E7F-2D93-4702-A8A6-A96D3C17EB8A}">
      <dsp:nvSpPr>
        <dsp:cNvPr id="0" name=""/>
        <dsp:cNvSpPr/>
      </dsp:nvSpPr>
      <dsp:spPr>
        <a:xfrm>
          <a:off x="2426455" y="3251544"/>
          <a:ext cx="180417" cy="8597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9723"/>
              </a:lnTo>
              <a:lnTo>
                <a:pt x="180417" y="859723"/>
              </a:lnTo>
            </a:path>
          </a:pathLst>
        </a:custGeom>
        <a:noFill/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252B04-875E-42D4-93E4-E6546089B7EA}">
      <dsp:nvSpPr>
        <dsp:cNvPr id="0" name=""/>
        <dsp:cNvSpPr/>
      </dsp:nvSpPr>
      <dsp:spPr>
        <a:xfrm>
          <a:off x="2426455" y="3251544"/>
          <a:ext cx="180417" cy="3416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660"/>
              </a:lnTo>
              <a:lnTo>
                <a:pt x="180417" y="341660"/>
              </a:lnTo>
            </a:path>
          </a:pathLst>
        </a:custGeom>
        <a:noFill/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47BF39-E96B-4F26-996E-75E718E1100B}">
      <dsp:nvSpPr>
        <dsp:cNvPr id="0" name=""/>
        <dsp:cNvSpPr/>
      </dsp:nvSpPr>
      <dsp:spPr>
        <a:xfrm>
          <a:off x="2048995" y="2466962"/>
          <a:ext cx="858574" cy="1189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69"/>
              </a:lnTo>
              <a:lnTo>
                <a:pt x="858574" y="59469"/>
              </a:lnTo>
              <a:lnTo>
                <a:pt x="858574" y="118938"/>
              </a:lnTo>
            </a:path>
          </a:pathLst>
        </a:custGeom>
        <a:noFill/>
        <a:ln w="1587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E786D9-2BCA-45A4-A508-7F1828E381C0}">
      <dsp:nvSpPr>
        <dsp:cNvPr id="0" name=""/>
        <dsp:cNvSpPr/>
      </dsp:nvSpPr>
      <dsp:spPr>
        <a:xfrm>
          <a:off x="1323743" y="2466962"/>
          <a:ext cx="725252" cy="118938"/>
        </a:xfrm>
        <a:custGeom>
          <a:avLst/>
          <a:gdLst/>
          <a:ahLst/>
          <a:cxnLst/>
          <a:rect l="0" t="0" r="0" b="0"/>
          <a:pathLst>
            <a:path>
              <a:moveTo>
                <a:pt x="725252" y="0"/>
              </a:moveTo>
              <a:lnTo>
                <a:pt x="725252" y="59469"/>
              </a:lnTo>
              <a:lnTo>
                <a:pt x="0" y="59469"/>
              </a:lnTo>
              <a:lnTo>
                <a:pt x="0" y="118938"/>
              </a:lnTo>
            </a:path>
          </a:pathLst>
        </a:custGeom>
        <a:noFill/>
        <a:ln w="1587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15A381-1F17-4F17-8717-7BFEDD1BB911}">
      <dsp:nvSpPr>
        <dsp:cNvPr id="0" name=""/>
        <dsp:cNvSpPr/>
      </dsp:nvSpPr>
      <dsp:spPr>
        <a:xfrm>
          <a:off x="2048995" y="771616"/>
          <a:ext cx="2069937" cy="981219"/>
        </a:xfrm>
        <a:custGeom>
          <a:avLst/>
          <a:gdLst/>
          <a:ahLst/>
          <a:cxnLst/>
          <a:rect l="0" t="0" r="0" b="0"/>
          <a:pathLst>
            <a:path>
              <a:moveTo>
                <a:pt x="2069937" y="0"/>
              </a:moveTo>
              <a:lnTo>
                <a:pt x="2069937" y="921750"/>
              </a:lnTo>
              <a:lnTo>
                <a:pt x="0" y="921750"/>
              </a:lnTo>
              <a:lnTo>
                <a:pt x="0" y="981219"/>
              </a:lnTo>
            </a:path>
          </a:pathLst>
        </a:custGeom>
        <a:noFill/>
        <a:ln w="158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2613BE-0AD7-4E33-9A0D-36D9698DACD0}">
      <dsp:nvSpPr>
        <dsp:cNvPr id="0" name=""/>
        <dsp:cNvSpPr/>
      </dsp:nvSpPr>
      <dsp:spPr>
        <a:xfrm>
          <a:off x="3275817" y="281"/>
          <a:ext cx="1686229" cy="77133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POBLACION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 15- 24 AÑOS 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2012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8.603.000 (100%)</a:t>
          </a:r>
          <a:endParaRPr lang="es-CO" sz="1100" b="1" kern="1200" dirty="0">
            <a:solidFill>
              <a:schemeClr val="tx1"/>
            </a:solidFill>
          </a:endParaRPr>
        </a:p>
      </dsp:txBody>
      <dsp:txXfrm>
        <a:off x="3275817" y="281"/>
        <a:ext cx="1686229" cy="771335"/>
      </dsp:txXfrm>
    </dsp:sp>
    <dsp:sp modelId="{2249D6E1-8FDF-4200-9C5F-B066F703A7C4}">
      <dsp:nvSpPr>
        <dsp:cNvPr id="0" name=""/>
        <dsp:cNvSpPr/>
      </dsp:nvSpPr>
      <dsp:spPr>
        <a:xfrm>
          <a:off x="1137102" y="1752836"/>
          <a:ext cx="1823785" cy="714125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solidFill>
            <a:schemeClr val="accent2">
              <a:lumMod val="60000"/>
              <a:lumOff val="40000"/>
            </a:schemeClr>
          </a:solidFill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REALIZAN  EDUCACIÓN O FORMACIÓN  POS SECUNDARIA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3.064.000 (63,9%)</a:t>
          </a:r>
          <a:endParaRPr lang="es-CO" sz="1000" b="1" kern="1200" dirty="0">
            <a:solidFill>
              <a:schemeClr val="tx1"/>
            </a:solidFill>
          </a:endParaRPr>
        </a:p>
      </dsp:txBody>
      <dsp:txXfrm>
        <a:off x="1137102" y="1752836"/>
        <a:ext cx="1823785" cy="714125"/>
      </dsp:txXfrm>
    </dsp:sp>
    <dsp:sp modelId="{3E9F280A-D91D-4347-91F0-008AD8F9B36E}">
      <dsp:nvSpPr>
        <dsp:cNvPr id="0" name=""/>
        <dsp:cNvSpPr/>
      </dsp:nvSpPr>
      <dsp:spPr>
        <a:xfrm>
          <a:off x="708614" y="2585900"/>
          <a:ext cx="1230257" cy="596319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MATRICULADOS  ETDH  y SENA 1.110.000</a:t>
          </a:r>
          <a:endParaRPr lang="es-CO" sz="1000" kern="1200" dirty="0">
            <a:solidFill>
              <a:schemeClr val="tx1"/>
            </a:solidFill>
          </a:endParaRPr>
        </a:p>
      </dsp:txBody>
      <dsp:txXfrm>
        <a:off x="708614" y="2585900"/>
        <a:ext cx="1230257" cy="596319"/>
      </dsp:txXfrm>
    </dsp:sp>
    <dsp:sp modelId="{991ABA27-EC68-47A4-87F1-5F60F712FF2B}">
      <dsp:nvSpPr>
        <dsp:cNvPr id="0" name=""/>
        <dsp:cNvSpPr/>
      </dsp:nvSpPr>
      <dsp:spPr>
        <a:xfrm>
          <a:off x="2306177" y="2585900"/>
          <a:ext cx="1202782" cy="66564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 smtClean="0">
            <a:solidFill>
              <a:schemeClr val="tx1"/>
            </a:solidFill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 smtClean="0">
            <a:solidFill>
              <a:schemeClr val="tx1"/>
            </a:solidFill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MATRICULADOS  ES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1.954.000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 smtClean="0">
            <a:solidFill>
              <a:schemeClr val="tx1"/>
            </a:solidFill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>
            <a:solidFill>
              <a:schemeClr val="tx1"/>
            </a:solidFill>
          </a:endParaRPr>
        </a:p>
      </dsp:txBody>
      <dsp:txXfrm>
        <a:off x="2306177" y="2585900"/>
        <a:ext cx="1202782" cy="665643"/>
      </dsp:txXfrm>
    </dsp:sp>
    <dsp:sp modelId="{3853EB75-DF8F-451B-A5A0-A0817C7CA44A}">
      <dsp:nvSpPr>
        <dsp:cNvPr id="0" name=""/>
        <dsp:cNvSpPr/>
      </dsp:nvSpPr>
      <dsp:spPr>
        <a:xfrm>
          <a:off x="2606873" y="3370483"/>
          <a:ext cx="890177" cy="44544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T y T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614.000</a:t>
          </a:r>
          <a:endParaRPr lang="es-CO" sz="1100" b="1" kern="1200" dirty="0">
            <a:solidFill>
              <a:schemeClr val="tx1"/>
            </a:solidFill>
          </a:endParaRPr>
        </a:p>
      </dsp:txBody>
      <dsp:txXfrm>
        <a:off x="2606873" y="3370483"/>
        <a:ext cx="890177" cy="445442"/>
      </dsp:txXfrm>
    </dsp:sp>
    <dsp:sp modelId="{3BABE346-BE2D-48A4-8807-8D7AC6B172DB}">
      <dsp:nvSpPr>
        <dsp:cNvPr id="0" name=""/>
        <dsp:cNvSpPr/>
      </dsp:nvSpPr>
      <dsp:spPr>
        <a:xfrm>
          <a:off x="2606873" y="3934865"/>
          <a:ext cx="1024521" cy="3528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50" b="1" kern="1200" dirty="0" smtClean="0">
              <a:solidFill>
                <a:schemeClr val="tx1"/>
              </a:solidFill>
            </a:rPr>
            <a:t>UNIVERSITARIO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50" b="1" kern="1200" dirty="0" smtClean="0">
              <a:solidFill>
                <a:schemeClr val="tx1"/>
              </a:solidFill>
            </a:rPr>
            <a:t>1.340.000</a:t>
          </a:r>
          <a:endParaRPr lang="es-CO" sz="1050" b="1" kern="1200" dirty="0">
            <a:solidFill>
              <a:schemeClr val="tx1"/>
            </a:solidFill>
          </a:endParaRPr>
        </a:p>
      </dsp:txBody>
      <dsp:txXfrm>
        <a:off x="2606873" y="3934865"/>
        <a:ext cx="1024521" cy="352806"/>
      </dsp:txXfrm>
    </dsp:sp>
    <dsp:sp modelId="{A14AF71E-D272-4705-B616-0F28B352D5C9}">
      <dsp:nvSpPr>
        <dsp:cNvPr id="0" name=""/>
        <dsp:cNvSpPr/>
      </dsp:nvSpPr>
      <dsp:spPr>
        <a:xfrm>
          <a:off x="3079826" y="1752836"/>
          <a:ext cx="1823785" cy="637209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solidFill>
            <a:schemeClr val="accent2">
              <a:lumMod val="60000"/>
              <a:lumOff val="40000"/>
            </a:schemeClr>
          </a:solidFill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NO VINCULADOS  A LA EDUCACIÓN POST SECUNDARIA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1.730.000 (36,1%)</a:t>
          </a:r>
          <a:endParaRPr lang="es-CO" sz="1000" b="1" kern="1200" dirty="0">
            <a:solidFill>
              <a:schemeClr val="tx1"/>
            </a:solidFill>
          </a:endParaRPr>
        </a:p>
      </dsp:txBody>
      <dsp:txXfrm>
        <a:off x="3079826" y="1752836"/>
        <a:ext cx="1823785" cy="637209"/>
      </dsp:txXfrm>
    </dsp:sp>
    <dsp:sp modelId="{20C32DAF-0002-495B-A671-6EB3FFD1E13A}">
      <dsp:nvSpPr>
        <dsp:cNvPr id="0" name=""/>
        <dsp:cNvSpPr/>
      </dsp:nvSpPr>
      <dsp:spPr>
        <a:xfrm>
          <a:off x="4195965" y="1021974"/>
          <a:ext cx="1650802" cy="59147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 </a:t>
          </a:r>
          <a:r>
            <a:rPr lang="es-CO" sz="1000" b="1" kern="1200" dirty="0" smtClean="0">
              <a:solidFill>
                <a:schemeClr val="tx1"/>
              </a:solidFill>
            </a:rPr>
            <a:t>NO HAN  TERMINADO LA SECUNDARIA 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solidFill>
                <a:schemeClr val="tx1"/>
              </a:solidFill>
            </a:rPr>
            <a:t>3.809.000 (44.3%)</a:t>
          </a:r>
          <a:endParaRPr lang="es-CO" sz="1000" b="1" kern="1200" dirty="0">
            <a:solidFill>
              <a:schemeClr val="tx1"/>
            </a:solidFill>
          </a:endParaRPr>
        </a:p>
      </dsp:txBody>
      <dsp:txXfrm>
        <a:off x="4195965" y="1021974"/>
        <a:ext cx="1650802" cy="591471"/>
      </dsp:txXfrm>
    </dsp:sp>
    <dsp:sp modelId="{12B34B2C-7453-4F8C-B947-43D579B86E2D}">
      <dsp:nvSpPr>
        <dsp:cNvPr id="0" name=""/>
        <dsp:cNvSpPr/>
      </dsp:nvSpPr>
      <dsp:spPr>
        <a:xfrm>
          <a:off x="2681177" y="890881"/>
          <a:ext cx="1348556" cy="74301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FINALIZARON SECUNDARIA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/>
              </a:solidFill>
            </a:rPr>
            <a:t>4.794.000 ( 55.7%)</a:t>
          </a:r>
          <a:endParaRPr lang="es-CO" sz="1100" b="1" kern="1200" dirty="0">
            <a:solidFill>
              <a:schemeClr val="tx1"/>
            </a:solidFill>
          </a:endParaRPr>
        </a:p>
      </dsp:txBody>
      <dsp:txXfrm>
        <a:off x="2681177" y="890881"/>
        <a:ext cx="1348556" cy="74301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CCEE37-84CC-4FFB-BDD2-2EBFE568AA78}">
      <dsp:nvSpPr>
        <dsp:cNvPr id="0" name=""/>
        <dsp:cNvSpPr/>
      </dsp:nvSpPr>
      <dsp:spPr>
        <a:xfrm rot="10800000">
          <a:off x="1061509" y="895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smtClean="0">
              <a:effectLst/>
            </a:rPr>
            <a:t>Perfil de egreso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200803" y="895"/>
        <a:ext cx="3356334" cy="557177"/>
      </dsp:txXfrm>
    </dsp:sp>
    <dsp:sp modelId="{A06848A9-0673-48CE-9E8A-C7D28F82CB08}">
      <dsp:nvSpPr>
        <dsp:cNvPr id="0" name=""/>
        <dsp:cNvSpPr/>
      </dsp:nvSpPr>
      <dsp:spPr>
        <a:xfrm>
          <a:off x="741183" y="895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67B104-8387-4618-A918-0C5B8BE70460}">
      <dsp:nvSpPr>
        <dsp:cNvPr id="0" name=""/>
        <dsp:cNvSpPr/>
      </dsp:nvSpPr>
      <dsp:spPr>
        <a:xfrm rot="10800000">
          <a:off x="1019772" y="724394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Diseño curricular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59066" y="724394"/>
        <a:ext cx="3356334" cy="557177"/>
      </dsp:txXfrm>
    </dsp:sp>
    <dsp:sp modelId="{E3C91D00-E061-4C92-90EE-7F9079521B4E}">
      <dsp:nvSpPr>
        <dsp:cNvPr id="0" name=""/>
        <dsp:cNvSpPr/>
      </dsp:nvSpPr>
      <dsp:spPr>
        <a:xfrm>
          <a:off x="741183" y="724394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77F370-FA76-46CC-80DD-15DEF2F3AEAC}">
      <dsp:nvSpPr>
        <dsp:cNvPr id="0" name=""/>
        <dsp:cNvSpPr/>
      </dsp:nvSpPr>
      <dsp:spPr>
        <a:xfrm rot="10800000">
          <a:off x="1019772" y="1447893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Estrategia de formación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59066" y="1447893"/>
        <a:ext cx="3356334" cy="557177"/>
      </dsp:txXfrm>
    </dsp:sp>
    <dsp:sp modelId="{C6FBEE0D-95DE-4531-A594-2828237A1A1C}">
      <dsp:nvSpPr>
        <dsp:cNvPr id="0" name=""/>
        <dsp:cNvSpPr/>
      </dsp:nvSpPr>
      <dsp:spPr>
        <a:xfrm>
          <a:off x="741183" y="1447893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4877A9-8A08-40E9-9FCB-37F24340B295}">
      <dsp:nvSpPr>
        <dsp:cNvPr id="0" name=""/>
        <dsp:cNvSpPr/>
      </dsp:nvSpPr>
      <dsp:spPr>
        <a:xfrm rot="10800000">
          <a:off x="1019772" y="2171392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Ambientes y recursos de aprendizaje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59066" y="2171392"/>
        <a:ext cx="3356334" cy="557177"/>
      </dsp:txXfrm>
    </dsp:sp>
    <dsp:sp modelId="{FE010DDC-EF4B-43AF-8661-0DE03706571B}">
      <dsp:nvSpPr>
        <dsp:cNvPr id="0" name=""/>
        <dsp:cNvSpPr/>
      </dsp:nvSpPr>
      <dsp:spPr>
        <a:xfrm>
          <a:off x="741183" y="2171392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769513-1D7B-4A29-A35E-728C9428A191}">
      <dsp:nvSpPr>
        <dsp:cNvPr id="0" name=""/>
        <dsp:cNvSpPr/>
      </dsp:nvSpPr>
      <dsp:spPr>
        <a:xfrm rot="10800000">
          <a:off x="1019772" y="2894891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Orientación al estudiante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59066" y="2894891"/>
        <a:ext cx="3356334" cy="557177"/>
      </dsp:txXfrm>
    </dsp:sp>
    <dsp:sp modelId="{C65667AB-79B9-4237-9263-C5DCD799A16C}">
      <dsp:nvSpPr>
        <dsp:cNvPr id="0" name=""/>
        <dsp:cNvSpPr/>
      </dsp:nvSpPr>
      <dsp:spPr>
        <a:xfrm>
          <a:off x="741183" y="2894891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B61F9F-231F-4C68-8A5B-E081EECA0ED2}">
      <dsp:nvSpPr>
        <dsp:cNvPr id="0" name=""/>
        <dsp:cNvSpPr/>
      </dsp:nvSpPr>
      <dsp:spPr>
        <a:xfrm rot="10800000">
          <a:off x="1019772" y="3618390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Resultados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59066" y="3618390"/>
        <a:ext cx="3356334" cy="557177"/>
      </dsp:txXfrm>
    </dsp:sp>
    <dsp:sp modelId="{2B6021C6-7717-432D-86DC-3024FDFA8E68}">
      <dsp:nvSpPr>
        <dsp:cNvPr id="0" name=""/>
        <dsp:cNvSpPr/>
      </dsp:nvSpPr>
      <dsp:spPr>
        <a:xfrm>
          <a:off x="741183" y="3618390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DFC23A-E9FA-4EFC-95DC-F052523EAEAB}">
      <dsp:nvSpPr>
        <dsp:cNvPr id="0" name=""/>
        <dsp:cNvSpPr/>
      </dsp:nvSpPr>
      <dsp:spPr>
        <a:xfrm rot="10800000">
          <a:off x="1051801" y="1870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223124" y="1870"/>
        <a:ext cx="3324305" cy="685293"/>
      </dsp:txXfrm>
    </dsp:sp>
    <dsp:sp modelId="{D6AB906A-08BF-444F-AD94-8F4F589D9748}">
      <dsp:nvSpPr>
        <dsp:cNvPr id="0" name=""/>
        <dsp:cNvSpPr/>
      </dsp:nvSpPr>
      <dsp:spPr>
        <a:xfrm>
          <a:off x="709154" y="1870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81C47D-A3FB-4A37-9F8B-75D10D6E8A00}">
      <dsp:nvSpPr>
        <dsp:cNvPr id="0" name=""/>
        <dsp:cNvSpPr/>
      </dsp:nvSpPr>
      <dsp:spPr>
        <a:xfrm rot="10800000">
          <a:off x="1051801" y="891730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223124" y="891730"/>
        <a:ext cx="3324305" cy="685293"/>
      </dsp:txXfrm>
    </dsp:sp>
    <dsp:sp modelId="{4B922227-45CE-4E2F-B288-CE179C39C995}">
      <dsp:nvSpPr>
        <dsp:cNvPr id="0" name=""/>
        <dsp:cNvSpPr/>
      </dsp:nvSpPr>
      <dsp:spPr>
        <a:xfrm>
          <a:off x="709154" y="891730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5F9641-0CCC-44A1-A251-AC2E59AC5AD1}">
      <dsp:nvSpPr>
        <dsp:cNvPr id="0" name=""/>
        <dsp:cNvSpPr/>
      </dsp:nvSpPr>
      <dsp:spPr>
        <a:xfrm rot="10800000">
          <a:off x="1051801" y="1781589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223124" y="1781589"/>
        <a:ext cx="3324305" cy="685293"/>
      </dsp:txXfrm>
    </dsp:sp>
    <dsp:sp modelId="{3F7AA024-1F19-4421-9CF0-A820B84FFCBF}">
      <dsp:nvSpPr>
        <dsp:cNvPr id="0" name=""/>
        <dsp:cNvSpPr/>
      </dsp:nvSpPr>
      <dsp:spPr>
        <a:xfrm>
          <a:off x="709154" y="1781589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96FCAF-D882-47BB-B229-C8C8749A112D}">
      <dsp:nvSpPr>
        <dsp:cNvPr id="0" name=""/>
        <dsp:cNvSpPr/>
      </dsp:nvSpPr>
      <dsp:spPr>
        <a:xfrm rot="10800000">
          <a:off x="1051801" y="2671448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223124" y="2671448"/>
        <a:ext cx="3324305" cy="685293"/>
      </dsp:txXfrm>
    </dsp:sp>
    <dsp:sp modelId="{BA7EA86A-870E-48D7-9790-E8125ECB2E09}">
      <dsp:nvSpPr>
        <dsp:cNvPr id="0" name=""/>
        <dsp:cNvSpPr/>
      </dsp:nvSpPr>
      <dsp:spPr>
        <a:xfrm>
          <a:off x="709154" y="2671448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611F49-B841-4787-8EDC-56CB38E0980C}">
      <dsp:nvSpPr>
        <dsp:cNvPr id="0" name=""/>
        <dsp:cNvSpPr/>
      </dsp:nvSpPr>
      <dsp:spPr>
        <a:xfrm rot="10800000">
          <a:off x="1051801" y="3561307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223124" y="3561307"/>
        <a:ext cx="3324305" cy="685293"/>
      </dsp:txXfrm>
    </dsp:sp>
    <dsp:sp modelId="{84FEFB6A-981F-4DA3-9096-A5A1C6AD2A85}">
      <dsp:nvSpPr>
        <dsp:cNvPr id="0" name=""/>
        <dsp:cNvSpPr/>
      </dsp:nvSpPr>
      <dsp:spPr>
        <a:xfrm>
          <a:off x="709154" y="3561307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BCC9CB-CCFD-4ADA-A2DC-5377C82B0C7B}">
      <dsp:nvSpPr>
        <dsp:cNvPr id="0" name=""/>
        <dsp:cNvSpPr/>
      </dsp:nvSpPr>
      <dsp:spPr>
        <a:xfrm>
          <a:off x="0" y="100604"/>
          <a:ext cx="4388296" cy="438829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rgbClr val="C00000"/>
              </a:solidFill>
            </a:rPr>
            <a:t>CONEFORP</a:t>
          </a:r>
          <a:endParaRPr lang="es-CO" sz="1600" b="1" kern="1200" dirty="0">
            <a:solidFill>
              <a:srgbClr val="C00000"/>
            </a:solidFill>
          </a:endParaRPr>
        </a:p>
      </dsp:txBody>
      <dsp:txXfrm>
        <a:off x="1371342" y="320019"/>
        <a:ext cx="1645611" cy="438829"/>
      </dsp:txXfrm>
    </dsp:sp>
    <dsp:sp modelId="{A02FAB29-46D4-4715-8B5F-3A93EB3B188B}">
      <dsp:nvSpPr>
        <dsp:cNvPr id="0" name=""/>
        <dsp:cNvSpPr/>
      </dsp:nvSpPr>
      <dsp:spPr>
        <a:xfrm>
          <a:off x="329122" y="727077"/>
          <a:ext cx="3730051" cy="3730051"/>
        </a:xfrm>
        <a:prstGeom prst="ellipse">
          <a:avLst/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rgbClr val="C00000"/>
              </a:solidFill>
            </a:rPr>
            <a:t>SCAFT</a:t>
          </a:r>
          <a:endParaRPr lang="es-CO" sz="1600" b="1" kern="1200" dirty="0">
            <a:solidFill>
              <a:srgbClr val="C00000"/>
            </a:solidFill>
          </a:endParaRPr>
        </a:p>
      </dsp:txBody>
      <dsp:txXfrm>
        <a:off x="1389855" y="941555"/>
        <a:ext cx="1608584" cy="428955"/>
      </dsp:txXfrm>
    </dsp:sp>
    <dsp:sp modelId="{38DF4771-44E3-434C-8D28-39E7A86F6222}">
      <dsp:nvSpPr>
        <dsp:cNvPr id="0" name=""/>
        <dsp:cNvSpPr/>
      </dsp:nvSpPr>
      <dsp:spPr>
        <a:xfrm>
          <a:off x="658244" y="1385322"/>
          <a:ext cx="3071807" cy="3071807"/>
        </a:xfrm>
        <a:prstGeom prst="ellipse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rgbClr val="C00000"/>
              </a:solidFill>
            </a:rPr>
            <a:t>CONACET Banco de Pares (SEC)</a:t>
          </a:r>
          <a:endParaRPr lang="es-CO" sz="1400" b="1" kern="1200" dirty="0">
            <a:solidFill>
              <a:srgbClr val="C00000"/>
            </a:solidFill>
          </a:endParaRPr>
        </a:p>
      </dsp:txBody>
      <dsp:txXfrm>
        <a:off x="1399317" y="1597276"/>
        <a:ext cx="1589660" cy="423909"/>
      </dsp:txXfrm>
    </dsp:sp>
    <dsp:sp modelId="{6EDA969A-B36D-46E6-8672-EE8B61D1564D}">
      <dsp:nvSpPr>
        <dsp:cNvPr id="0" name=""/>
        <dsp:cNvSpPr/>
      </dsp:nvSpPr>
      <dsp:spPr>
        <a:xfrm>
          <a:off x="1003923" y="2044821"/>
          <a:ext cx="2413562" cy="2413562"/>
        </a:xfrm>
        <a:prstGeom prst="ellipse">
          <a:avLst/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>
              <a:solidFill>
                <a:srgbClr val="C00000"/>
              </a:solidFill>
            </a:rPr>
            <a:t>SACET</a:t>
          </a:r>
          <a:endParaRPr lang="es-CO" sz="2000" b="1" kern="1200" dirty="0">
            <a:solidFill>
              <a:srgbClr val="C00000"/>
            </a:solidFill>
          </a:endParaRPr>
        </a:p>
      </dsp:txBody>
      <dsp:txXfrm>
        <a:off x="1559043" y="2262042"/>
        <a:ext cx="1303323" cy="434441"/>
      </dsp:txXfrm>
    </dsp:sp>
    <dsp:sp modelId="{2295F18A-1529-47C8-BA3D-5DDEDCADB3B4}">
      <dsp:nvSpPr>
        <dsp:cNvPr id="0" name=""/>
        <dsp:cNvSpPr/>
      </dsp:nvSpPr>
      <dsp:spPr>
        <a:xfrm>
          <a:off x="1316488" y="2701811"/>
          <a:ext cx="1755318" cy="1755318"/>
        </a:xfrm>
        <a:prstGeom prst="ellipse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>
              <a:solidFill>
                <a:srgbClr val="000099"/>
              </a:solidFill>
            </a:rPr>
            <a:t>SIET</a:t>
          </a:r>
          <a:endParaRPr lang="es-CO" sz="2400" b="1" kern="1200" dirty="0">
            <a:solidFill>
              <a:srgbClr val="000099"/>
            </a:solidFill>
          </a:endParaRPr>
        </a:p>
      </dsp:txBody>
      <dsp:txXfrm>
        <a:off x="1573549" y="3140640"/>
        <a:ext cx="1241197" cy="87765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BA77A-8CC4-4500-B01A-7AEBE3488E5B}">
      <dsp:nvSpPr>
        <dsp:cNvPr id="0" name=""/>
        <dsp:cNvSpPr/>
      </dsp:nvSpPr>
      <dsp:spPr>
        <a:xfrm>
          <a:off x="0" y="87124"/>
          <a:ext cx="7155538" cy="4472211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74D59F4-944A-49F5-95FC-04A4419035C4}">
      <dsp:nvSpPr>
        <dsp:cNvPr id="0" name=""/>
        <dsp:cNvSpPr/>
      </dsp:nvSpPr>
      <dsp:spPr>
        <a:xfrm>
          <a:off x="908753" y="3256669"/>
          <a:ext cx="186043" cy="18604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205A0E6-1EA0-4317-9904-760282DE6794}">
      <dsp:nvSpPr>
        <dsp:cNvPr id="0" name=""/>
        <dsp:cNvSpPr/>
      </dsp:nvSpPr>
      <dsp:spPr>
        <a:xfrm>
          <a:off x="78348" y="1267644"/>
          <a:ext cx="1001775" cy="2104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8581" bIns="0" numCol="1" spcCol="1270" anchor="b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Lengua extranjera e internacionalización fortalecidos</a:t>
          </a:r>
          <a:endParaRPr lang="es-CO" sz="1400" b="1" kern="1200" dirty="0">
            <a:solidFill>
              <a:schemeClr val="tx1"/>
            </a:solidFill>
            <a:latin typeface="Arial Narrow" pitchFamily="34" charset="0"/>
            <a:cs typeface="Arial" pitchFamily="34" charset="0"/>
          </a:endParaRPr>
        </a:p>
      </dsp:txBody>
      <dsp:txXfrm>
        <a:off x="78348" y="1267644"/>
        <a:ext cx="1001775" cy="2104321"/>
      </dsp:txXfrm>
    </dsp:sp>
    <dsp:sp modelId="{DF5BC5EE-5CD3-4041-AC84-438F896DB8DF}">
      <dsp:nvSpPr>
        <dsp:cNvPr id="0" name=""/>
        <dsp:cNvSpPr/>
      </dsp:nvSpPr>
      <dsp:spPr>
        <a:xfrm>
          <a:off x="2550949" y="2041122"/>
          <a:ext cx="336310" cy="336310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2340759"/>
                <a:satOff val="-2919"/>
                <a:lumOff val="686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A846722-CA88-4622-AB23-0D37DD50D861}">
      <dsp:nvSpPr>
        <dsp:cNvPr id="0" name=""/>
        <dsp:cNvSpPr/>
      </dsp:nvSpPr>
      <dsp:spPr>
        <a:xfrm>
          <a:off x="1001775" y="169949"/>
          <a:ext cx="1717329" cy="2039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78204" bIns="0" numCol="1" spcCol="1270" anchor="b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Arial Narrow" pitchFamily="34" charset="0"/>
            </a:rPr>
            <a:t>  Sistema Nal.   Certificación de Competencias consolidado</a:t>
          </a:r>
          <a:r>
            <a:rPr lang="es-ES" sz="1600" kern="1200" dirty="0" smtClean="0">
              <a:latin typeface="Arial Narrow" pitchFamily="34" charset="0"/>
            </a:rPr>
            <a:t>.</a:t>
          </a:r>
          <a:endParaRPr lang="es-CO" sz="1600" b="1" i="0" kern="1200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sp:txBody>
      <dsp:txXfrm>
        <a:off x="1001775" y="169949"/>
        <a:ext cx="1717329" cy="2039328"/>
      </dsp:txXfrm>
    </dsp:sp>
    <dsp:sp modelId="{8415FEC7-BEA0-44FB-AAB5-6191E32C784E}">
      <dsp:nvSpPr>
        <dsp:cNvPr id="0" name=""/>
        <dsp:cNvSpPr/>
      </dsp:nvSpPr>
      <dsp:spPr>
        <a:xfrm>
          <a:off x="4525877" y="1301418"/>
          <a:ext cx="465109" cy="465109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19EB36A-6F43-47A7-A52A-61BE523CF52D}">
      <dsp:nvSpPr>
        <dsp:cNvPr id="0" name=""/>
        <dsp:cNvSpPr/>
      </dsp:nvSpPr>
      <dsp:spPr>
        <a:xfrm>
          <a:off x="3041103" y="169949"/>
          <a:ext cx="1717329" cy="13640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6452" bIns="0" numCol="1" spcCol="1270" anchor="b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Arial Narrow" pitchFamily="34" charset="0"/>
            </a:rPr>
            <a:t>Marco Nacional  Cualificaciones diseñado </a:t>
          </a:r>
          <a:endParaRPr lang="es-ES" sz="1400" b="1" kern="1200" dirty="0">
            <a:latin typeface="Arial Narrow" pitchFamily="34" charset="0"/>
          </a:endParaRPr>
        </a:p>
      </dsp:txBody>
      <dsp:txXfrm>
        <a:off x="3041103" y="169949"/>
        <a:ext cx="1717329" cy="136402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BA77A-8CC4-4500-B01A-7AEBE3488E5B}">
      <dsp:nvSpPr>
        <dsp:cNvPr id="0" name=""/>
        <dsp:cNvSpPr/>
      </dsp:nvSpPr>
      <dsp:spPr>
        <a:xfrm>
          <a:off x="0" y="309501"/>
          <a:ext cx="7335050" cy="4584406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EE4FEFF-4D28-463C-8769-5FB28CF6F060}">
      <dsp:nvSpPr>
        <dsp:cNvPr id="0" name=""/>
        <dsp:cNvSpPr/>
      </dsp:nvSpPr>
      <dsp:spPr>
        <a:xfrm>
          <a:off x="722502" y="3803369"/>
          <a:ext cx="168706" cy="16870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B4FA41D-3B9D-464A-BF35-C2B40D07FEE1}">
      <dsp:nvSpPr>
        <dsp:cNvPr id="0" name=""/>
        <dsp:cNvSpPr/>
      </dsp:nvSpPr>
      <dsp:spPr>
        <a:xfrm>
          <a:off x="0" y="394404"/>
          <a:ext cx="806855" cy="34933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9394" bIns="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b="1" kern="1200" dirty="0" smtClean="0">
              <a:latin typeface="Arial" pitchFamily="34" charset="0"/>
              <a:cs typeface="Arial" pitchFamily="34" charset="0"/>
            </a:rPr>
            <a:t>Instituciones públicas </a:t>
          </a:r>
          <a:r>
            <a:rPr lang="es-CO" sz="1200" b="1" kern="1200" dirty="0" smtClean="0">
              <a:latin typeface="Arial" pitchFamily="34" charset="0"/>
              <a:cs typeface="Arial" pitchFamily="34" charset="0"/>
            </a:rPr>
            <a:t>FTDH con </a:t>
          </a:r>
          <a:r>
            <a:rPr lang="es-ES_tradnl" sz="1200" b="1" kern="1200" dirty="0" smtClean="0">
              <a:latin typeface="Arial" pitchFamily="34" charset="0"/>
              <a:cs typeface="Arial" pitchFamily="34" charset="0"/>
            </a:rPr>
            <a:t>SGC.</a:t>
          </a:r>
          <a:r>
            <a:rPr lang="es-CO" sz="1200" b="1" kern="1200" dirty="0" smtClean="0">
              <a:latin typeface="Arial" pitchFamily="34" charset="0"/>
              <a:cs typeface="Arial" pitchFamily="34" charset="0"/>
            </a:rPr>
            <a:t> </a:t>
          </a:r>
          <a:endParaRPr lang="es-CO" sz="1200" b="1" kern="1200" dirty="0">
            <a:latin typeface="Arial" pitchFamily="34" charset="0"/>
            <a:cs typeface="Arial" pitchFamily="34" charset="0"/>
          </a:endParaRPr>
        </a:p>
      </dsp:txBody>
      <dsp:txXfrm>
        <a:off x="0" y="394404"/>
        <a:ext cx="806855" cy="3493317"/>
      </dsp:txXfrm>
    </dsp:sp>
    <dsp:sp modelId="{3BF20FB2-5464-4CFE-92E9-8E4F54C9B9DA}">
      <dsp:nvSpPr>
        <dsp:cNvPr id="0" name=""/>
        <dsp:cNvSpPr/>
      </dsp:nvSpPr>
      <dsp:spPr>
        <a:xfrm>
          <a:off x="1635716" y="2925914"/>
          <a:ext cx="264061" cy="264061"/>
        </a:xfrm>
        <a:prstGeom prst="ellipse">
          <a:avLst/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170380"/>
                <a:satOff val="-1460"/>
                <a:lumOff val="34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1EF3A2E-20B0-48EF-B4CE-5158D0BF7502}">
      <dsp:nvSpPr>
        <dsp:cNvPr id="0" name=""/>
        <dsp:cNvSpPr/>
      </dsp:nvSpPr>
      <dsp:spPr>
        <a:xfrm>
          <a:off x="806855" y="394404"/>
          <a:ext cx="960891" cy="26635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39921" bIns="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b="1" kern="1200" dirty="0" smtClean="0">
              <a:latin typeface="Arial" pitchFamily="34" charset="0"/>
              <a:cs typeface="Arial" pitchFamily="34" charset="0"/>
            </a:rPr>
            <a:t>Diseño curricular bajo enfoque de competencias a SE e IFTDH.</a:t>
          </a:r>
          <a:r>
            <a:rPr lang="es-ES" sz="1200" b="1" i="0" kern="120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2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806855" y="394404"/>
        <a:ext cx="960891" cy="2663540"/>
      </dsp:txXfrm>
    </dsp:sp>
    <dsp:sp modelId="{9FD40C73-A609-414A-969F-6E0C032D25E2}">
      <dsp:nvSpPr>
        <dsp:cNvPr id="0" name=""/>
        <dsp:cNvSpPr/>
      </dsp:nvSpPr>
      <dsp:spPr>
        <a:xfrm>
          <a:off x="2809324" y="2226333"/>
          <a:ext cx="352082" cy="352082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2340759"/>
                <a:satOff val="-2919"/>
                <a:lumOff val="686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242ADE2-6E9F-4507-9FDC-25574F906231}">
      <dsp:nvSpPr>
        <dsp:cNvPr id="0" name=""/>
        <dsp:cNvSpPr/>
      </dsp:nvSpPr>
      <dsp:spPr>
        <a:xfrm>
          <a:off x="1767747" y="394404"/>
          <a:ext cx="1217618" cy="20079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86561" bIns="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ctualización y Auditoría a la información que registran en el SIET las SE certificadas.                                                            </a:t>
          </a:r>
          <a:endParaRPr lang="es-ES" sz="1200" b="1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1767747" y="394404"/>
        <a:ext cx="1217618" cy="2007969"/>
      </dsp:txXfrm>
    </dsp:sp>
    <dsp:sp modelId="{AD7F751C-7291-49F2-8BB5-5ECEE29A7311}">
      <dsp:nvSpPr>
        <dsp:cNvPr id="0" name=""/>
        <dsp:cNvSpPr/>
      </dsp:nvSpPr>
      <dsp:spPr>
        <a:xfrm>
          <a:off x="4173643" y="1679872"/>
          <a:ext cx="454773" cy="454773"/>
        </a:xfrm>
        <a:prstGeom prst="ellipse">
          <a:avLst/>
        </a:prstGeom>
        <a:gradFill rotWithShape="0">
          <a:gsLst>
            <a:gs pos="0">
              <a:schemeClr val="accent2">
                <a:hueOff val="3511139"/>
                <a:satOff val="-4379"/>
                <a:lumOff val="103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511139"/>
                <a:satOff val="-4379"/>
                <a:lumOff val="103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511139"/>
                <a:satOff val="-4379"/>
                <a:lumOff val="103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1A21FA9-706F-45B8-B9A1-7F108EF498FA}">
      <dsp:nvSpPr>
        <dsp:cNvPr id="0" name=""/>
        <dsp:cNvSpPr/>
      </dsp:nvSpPr>
      <dsp:spPr>
        <a:xfrm>
          <a:off x="2985365" y="394404"/>
          <a:ext cx="1415664" cy="15128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0975" bIns="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stituciones y programas de FT con certificación de calidad.</a:t>
          </a:r>
          <a:endParaRPr lang="es-CO" sz="12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2985365" y="394404"/>
        <a:ext cx="1415664" cy="1512854"/>
      </dsp:txXfrm>
    </dsp:sp>
    <dsp:sp modelId="{7FF090ED-23FA-4461-9B40-4C30A5B7BA9F}">
      <dsp:nvSpPr>
        <dsp:cNvPr id="0" name=""/>
        <dsp:cNvSpPr/>
      </dsp:nvSpPr>
      <dsp:spPr>
        <a:xfrm>
          <a:off x="5578305" y="1314953"/>
          <a:ext cx="579468" cy="579468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D0FEB95-5A1F-4814-A48D-41A8028D79C0}">
      <dsp:nvSpPr>
        <dsp:cNvPr id="0" name=""/>
        <dsp:cNvSpPr/>
      </dsp:nvSpPr>
      <dsp:spPr>
        <a:xfrm>
          <a:off x="4328919" y="394404"/>
          <a:ext cx="1611231" cy="12102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7049" bIns="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compañamiento a las Secretarías de Educación e IFT en el modelo de Aseguramiento de calidad.</a:t>
          </a:r>
          <a:endParaRPr lang="es-CO" sz="12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4328919" y="394404"/>
        <a:ext cx="1611231" cy="121028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7177CC-7D0E-45C0-9DEA-DAFF9E8F497D}">
      <dsp:nvSpPr>
        <dsp:cNvPr id="0" name=""/>
        <dsp:cNvSpPr/>
      </dsp:nvSpPr>
      <dsp:spPr>
        <a:xfrm>
          <a:off x="3062814" y="0"/>
          <a:ext cx="2409338" cy="124224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6AF678-B0AC-40F2-9298-5C08FC1CC904}">
      <dsp:nvSpPr>
        <dsp:cNvPr id="0" name=""/>
        <dsp:cNvSpPr/>
      </dsp:nvSpPr>
      <dsp:spPr>
        <a:xfrm>
          <a:off x="3474154" y="433115"/>
          <a:ext cx="1586191" cy="379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rgbClr val="C00000"/>
              </a:solidFill>
            </a:rPr>
            <a:t>Taller </a:t>
          </a:r>
          <a:r>
            <a:rPr lang="es-CO" sz="1100" b="1" kern="1200" smtClean="0">
              <a:solidFill>
                <a:srgbClr val="C00000"/>
              </a:solidFill>
            </a:rPr>
            <a:t>Regional Evaluacion </a:t>
          </a:r>
          <a:r>
            <a:rPr lang="es-CO" sz="1100" b="1" kern="1200" dirty="0" smtClean="0">
              <a:solidFill>
                <a:srgbClr val="C00000"/>
              </a:solidFill>
            </a:rPr>
            <a:t>de programas , SIET</a:t>
          </a:r>
          <a:endParaRPr lang="es-CO" sz="1100" b="1" kern="1200" dirty="0">
            <a:solidFill>
              <a:srgbClr val="C00000"/>
            </a:solidFill>
          </a:endParaRPr>
        </a:p>
      </dsp:txBody>
      <dsp:txXfrm>
        <a:off x="3474154" y="433115"/>
        <a:ext cx="1586191" cy="379789"/>
      </dsp:txXfrm>
    </dsp:sp>
    <dsp:sp modelId="{8776FE33-5264-4AF5-9604-3E3A3CAFDD8A}">
      <dsp:nvSpPr>
        <dsp:cNvPr id="0" name=""/>
        <dsp:cNvSpPr/>
      </dsp:nvSpPr>
      <dsp:spPr>
        <a:xfrm>
          <a:off x="2553241" y="713969"/>
          <a:ext cx="2738347" cy="124224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5">
            <a:hueOff val="-1986775"/>
            <a:satOff val="7962"/>
            <a:lumOff val="172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4B27F0-2DFA-410E-AF29-D17F9038170E}">
      <dsp:nvSpPr>
        <dsp:cNvPr id="0" name=""/>
        <dsp:cNvSpPr/>
      </dsp:nvSpPr>
      <dsp:spPr>
        <a:xfrm>
          <a:off x="2702430" y="1197448"/>
          <a:ext cx="2436705" cy="281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rgbClr val="C00000"/>
              </a:solidFill>
            </a:rPr>
            <a:t>Taller INTEGRAL  Gestión de ETDH Entidades Territoriales</a:t>
          </a:r>
          <a:endParaRPr lang="es-CO" sz="1100" b="1" kern="1200" dirty="0">
            <a:solidFill>
              <a:srgbClr val="C00000"/>
            </a:solidFill>
          </a:endParaRPr>
        </a:p>
      </dsp:txBody>
      <dsp:txXfrm>
        <a:off x="2702430" y="1197448"/>
        <a:ext cx="2436705" cy="281896"/>
      </dsp:txXfrm>
    </dsp:sp>
    <dsp:sp modelId="{6EBC6529-B2CA-46A7-A83F-B1B64A248AD9}">
      <dsp:nvSpPr>
        <dsp:cNvPr id="0" name=""/>
        <dsp:cNvSpPr/>
      </dsp:nvSpPr>
      <dsp:spPr>
        <a:xfrm>
          <a:off x="2904768" y="1430301"/>
          <a:ext cx="2725429" cy="1242240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5">
            <a:hueOff val="-3973551"/>
            <a:satOff val="15924"/>
            <a:lumOff val="3451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9A34DD-4480-447C-8547-472C9A2E94E4}">
      <dsp:nvSpPr>
        <dsp:cNvPr id="0" name=""/>
        <dsp:cNvSpPr/>
      </dsp:nvSpPr>
      <dsp:spPr>
        <a:xfrm>
          <a:off x="3291221" y="1917890"/>
          <a:ext cx="1952058" cy="270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rgbClr val="C00000"/>
              </a:solidFill>
            </a:rPr>
            <a:t>Taller Auditores Internos de Calidad</a:t>
          </a:r>
          <a:endParaRPr lang="es-CO" sz="1100" b="1" kern="1200" dirty="0">
            <a:solidFill>
              <a:srgbClr val="C00000"/>
            </a:solidFill>
          </a:endParaRPr>
        </a:p>
      </dsp:txBody>
      <dsp:txXfrm>
        <a:off x="3291221" y="1917890"/>
        <a:ext cx="1952058" cy="270841"/>
      </dsp:txXfrm>
    </dsp:sp>
    <dsp:sp modelId="{2CF43178-7F3D-4C1D-88B5-2182C39F746A}">
      <dsp:nvSpPr>
        <dsp:cNvPr id="0" name=""/>
        <dsp:cNvSpPr/>
      </dsp:nvSpPr>
      <dsp:spPr>
        <a:xfrm>
          <a:off x="2475050" y="2145687"/>
          <a:ext cx="2894728" cy="124224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5">
            <a:hueOff val="-5960326"/>
            <a:satOff val="23887"/>
            <a:lumOff val="5177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BD0335-D13F-42D4-8AC7-230DEECB760D}">
      <dsp:nvSpPr>
        <dsp:cNvPr id="0" name=""/>
        <dsp:cNvSpPr/>
      </dsp:nvSpPr>
      <dsp:spPr>
        <a:xfrm>
          <a:off x="3024337" y="2494769"/>
          <a:ext cx="1792893" cy="5478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rgbClr val="C00000"/>
              </a:solidFill>
            </a:rPr>
            <a:t>Taller Regional Diseño Curricular y  Modelo Aseguramiento de Calidad</a:t>
          </a:r>
          <a:endParaRPr lang="es-CO" sz="1100" b="1" kern="1200" dirty="0">
            <a:solidFill>
              <a:srgbClr val="C00000"/>
            </a:solidFill>
          </a:endParaRPr>
        </a:p>
      </dsp:txBody>
      <dsp:txXfrm>
        <a:off x="3024337" y="2494769"/>
        <a:ext cx="1792893" cy="547857"/>
      </dsp:txXfrm>
    </dsp:sp>
    <dsp:sp modelId="{DD0270F2-42AB-45BF-8C18-ABD126E11C3A}">
      <dsp:nvSpPr>
        <dsp:cNvPr id="0" name=""/>
        <dsp:cNvSpPr/>
      </dsp:nvSpPr>
      <dsp:spPr>
        <a:xfrm>
          <a:off x="2856053" y="2860129"/>
          <a:ext cx="2822860" cy="1242240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5">
            <a:hueOff val="-7947101"/>
            <a:satOff val="31849"/>
            <a:lumOff val="6902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D3CC24-9E05-48A0-8287-EF7AF229004B}">
      <dsp:nvSpPr>
        <dsp:cNvPr id="0" name=""/>
        <dsp:cNvSpPr/>
      </dsp:nvSpPr>
      <dsp:spPr>
        <a:xfrm>
          <a:off x="3349921" y="3309963"/>
          <a:ext cx="1834656" cy="3463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smtClean="0">
              <a:solidFill>
                <a:srgbClr val="C00000"/>
              </a:solidFill>
            </a:rPr>
            <a:t>Taller de implementación </a:t>
          </a:r>
          <a:r>
            <a:rPr lang="es-CO" sz="1100" b="1" kern="1200" dirty="0" smtClean="0">
              <a:solidFill>
                <a:srgbClr val="C00000"/>
              </a:solidFill>
            </a:rPr>
            <a:t>sistema de Gestión de Calidad</a:t>
          </a:r>
          <a:endParaRPr lang="es-CO" sz="1100" b="1" kern="1200" dirty="0">
            <a:solidFill>
              <a:srgbClr val="C00000"/>
            </a:solidFill>
          </a:endParaRPr>
        </a:p>
      </dsp:txBody>
      <dsp:txXfrm>
        <a:off x="3349921" y="3309963"/>
        <a:ext cx="1834656" cy="346353"/>
      </dsp:txXfrm>
    </dsp:sp>
    <dsp:sp modelId="{6E557F87-40C6-4BD3-B92C-4B73E063C1B2}">
      <dsp:nvSpPr>
        <dsp:cNvPr id="0" name=""/>
        <dsp:cNvSpPr/>
      </dsp:nvSpPr>
      <dsp:spPr>
        <a:xfrm>
          <a:off x="2580064" y="3657261"/>
          <a:ext cx="2686798" cy="1067882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59060B-4298-407E-8746-852F7FA7776F}">
      <dsp:nvSpPr>
        <dsp:cNvPr id="0" name=""/>
        <dsp:cNvSpPr/>
      </dsp:nvSpPr>
      <dsp:spPr>
        <a:xfrm>
          <a:off x="3089037" y="3986274"/>
          <a:ext cx="1663493" cy="4245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rgbClr val="C00000"/>
              </a:solidFill>
            </a:rPr>
            <a:t>Foro Sistema de Aseguramiento de Calidad  FT</a:t>
          </a:r>
          <a:endParaRPr lang="es-CO" sz="1100" b="1" kern="1200" dirty="0">
            <a:solidFill>
              <a:srgbClr val="C00000"/>
            </a:solidFill>
          </a:endParaRPr>
        </a:p>
      </dsp:txBody>
      <dsp:txXfrm>
        <a:off x="3089037" y="3986274"/>
        <a:ext cx="1663493" cy="42450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1C7BD4-C64F-43A1-93D1-DD80AD9D2D0B}">
      <dsp:nvSpPr>
        <dsp:cNvPr id="0" name=""/>
        <dsp:cNvSpPr/>
      </dsp:nvSpPr>
      <dsp:spPr>
        <a:xfrm>
          <a:off x="0" y="249552"/>
          <a:ext cx="7560840" cy="24097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805" tIns="312420" rIns="58680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Lograr posicionamiento   y empoderamiento de la FTDH. 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Mayor interacción entre el MEN y la Entidad Territorial.</a:t>
          </a:r>
          <a:r>
            <a:rPr lang="es-ES_tradnl" sz="1600" b="1" kern="1200" dirty="0" smtClean="0"/>
            <a:t> 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solidar S</a:t>
          </a:r>
          <a:r>
            <a:rPr lang="es-MX" sz="1600" kern="1200" dirty="0" err="1" smtClean="0"/>
            <a:t>istema</a:t>
          </a:r>
          <a:r>
            <a:rPr lang="es-MX" sz="1600" kern="1200" dirty="0" smtClean="0"/>
            <a:t> de  Formación para el Trabajo desde el MEN y logre instalar capacidad en la SE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1" kern="1200" dirty="0" smtClean="0"/>
            <a:t>Definir estructura y organización de la</a:t>
          </a:r>
          <a:r>
            <a:rPr lang="es-CO" sz="1600" kern="1200" dirty="0" smtClean="0"/>
            <a:t> ET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Fortalecer los equipos de las Secretarías de Educación para atender esta responsabilidad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tar con recurso humano idóneo para evaluación y seguimiento</a:t>
          </a:r>
          <a:endParaRPr lang="es-CO" sz="1600" kern="1200" dirty="0"/>
        </a:p>
      </dsp:txBody>
      <dsp:txXfrm>
        <a:off x="0" y="249552"/>
        <a:ext cx="7560840" cy="2409750"/>
      </dsp:txXfrm>
    </dsp:sp>
    <dsp:sp modelId="{C5A07561-FDBD-4F9E-98C4-FFE0066B356F}">
      <dsp:nvSpPr>
        <dsp:cNvPr id="0" name=""/>
        <dsp:cNvSpPr/>
      </dsp:nvSpPr>
      <dsp:spPr>
        <a:xfrm>
          <a:off x="378042" y="28152"/>
          <a:ext cx="5292588" cy="442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47" tIns="0" rIns="20004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ORGANIZACIÓN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99658" y="49768"/>
        <a:ext cx="5249356" cy="399568"/>
      </dsp:txXfrm>
    </dsp:sp>
    <dsp:sp modelId="{FF3B3633-D802-4A33-93EF-DF8BCCA949EB}">
      <dsp:nvSpPr>
        <dsp:cNvPr id="0" name=""/>
        <dsp:cNvSpPr/>
      </dsp:nvSpPr>
      <dsp:spPr>
        <a:xfrm>
          <a:off x="0" y="3138101"/>
          <a:ext cx="7560840" cy="13702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805" tIns="312420" rIns="58680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Solucionar las debilidades en las áreas de Inspección y Vigilancia y calidad para calificar y acompañar  a las IETDH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Brindar desde el MEN capacitación a las SE para asumir asistencia técnica.</a:t>
          </a:r>
          <a:endParaRPr lang="es-CO" sz="16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400" kern="1200" dirty="0"/>
        </a:p>
      </dsp:txBody>
      <dsp:txXfrm>
        <a:off x="0" y="3138101"/>
        <a:ext cx="7560840" cy="1370250"/>
      </dsp:txXfrm>
    </dsp:sp>
    <dsp:sp modelId="{C17E2D99-9489-456E-97E3-D967472EAAD2}">
      <dsp:nvSpPr>
        <dsp:cNvPr id="0" name=""/>
        <dsp:cNvSpPr/>
      </dsp:nvSpPr>
      <dsp:spPr>
        <a:xfrm>
          <a:off x="378042" y="2740302"/>
          <a:ext cx="5292588" cy="61919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47" tIns="0" rIns="20004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ASISTENCIA TECNICA /INSPECCION Y VIGILANCIA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408269" y="2770529"/>
        <a:ext cx="5232134" cy="558744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201B38-210A-4CF0-BBC3-2F6AF9919001}">
      <dsp:nvSpPr>
        <dsp:cNvPr id="0" name=""/>
        <dsp:cNvSpPr/>
      </dsp:nvSpPr>
      <dsp:spPr>
        <a:xfrm>
          <a:off x="0" y="305495"/>
          <a:ext cx="6624737" cy="17325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153" tIns="208280" rIns="51415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 </a:t>
          </a:r>
          <a:r>
            <a:rPr lang="es-ES_tradnl" sz="1600" kern="1200" dirty="0" smtClean="0"/>
            <a:t>Lineamientos generales para el desarrollo e implementación, seguimiento y evaluación de la ETDH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Orientación y lineamientos claros para la expedición de licencias y registro de los programas de ETDH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Diseño de  Guía e instrumentos para orientación y evaluación de programas de ETDH</a:t>
          </a:r>
          <a:endParaRPr lang="es-CO" sz="1600" kern="1200" dirty="0"/>
        </a:p>
      </dsp:txBody>
      <dsp:txXfrm>
        <a:off x="0" y="305495"/>
        <a:ext cx="6624737" cy="1732500"/>
      </dsp:txXfrm>
    </dsp:sp>
    <dsp:sp modelId="{88404FA8-B4D7-447D-B689-71413C8507D3}">
      <dsp:nvSpPr>
        <dsp:cNvPr id="0" name=""/>
        <dsp:cNvSpPr/>
      </dsp:nvSpPr>
      <dsp:spPr>
        <a:xfrm>
          <a:off x="329619" y="15603"/>
          <a:ext cx="6295105" cy="43749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279" tIns="0" rIns="1752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ORIENTACIONES Y LINEAMIENTOS PARA  LICENCIAS Y REGISTROS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50976" y="36960"/>
        <a:ext cx="6252391" cy="394778"/>
      </dsp:txXfrm>
    </dsp:sp>
    <dsp:sp modelId="{3C4D1F82-F8F2-44D8-9A8B-792E9C62E2CF}">
      <dsp:nvSpPr>
        <dsp:cNvPr id="0" name=""/>
        <dsp:cNvSpPr/>
      </dsp:nvSpPr>
      <dsp:spPr>
        <a:xfrm>
          <a:off x="0" y="2432892"/>
          <a:ext cx="6624737" cy="2016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153" tIns="208280" rIns="514153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Recursos adicionales para atender este compromiso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Generar los recursos económicos para cofinanciar convenios y alianzas que favorezcan esta formación para el trabajo y el desarrollo humano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Fondo para atender la Formación para el Trabajo como el FEM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Definir desde el MEN criterios para los costos de aprobación de licencias y programas. </a:t>
          </a:r>
          <a:r>
            <a:rPr lang="es-ES_tradnl" sz="1600" kern="1200" dirty="0" smtClean="0"/>
            <a:t>Regulación del sistema tarifario.</a:t>
          </a:r>
          <a:endParaRPr lang="es-CO" sz="1600" kern="1200" dirty="0"/>
        </a:p>
      </dsp:txBody>
      <dsp:txXfrm>
        <a:off x="0" y="2432892"/>
        <a:ext cx="6624737" cy="2016000"/>
      </dsp:txXfrm>
    </dsp:sp>
    <dsp:sp modelId="{909719E4-304C-4342-816F-38263EC714D0}">
      <dsp:nvSpPr>
        <dsp:cNvPr id="0" name=""/>
        <dsp:cNvSpPr/>
      </dsp:nvSpPr>
      <dsp:spPr>
        <a:xfrm>
          <a:off x="331236" y="2091995"/>
          <a:ext cx="4637315" cy="48849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279" tIns="0" rIns="1752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RECURSOS  FINANCIEROS 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55082" y="2115841"/>
        <a:ext cx="4589623" cy="440804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5F1998-5B9B-4903-B3B0-4FFFD5085673}">
      <dsp:nvSpPr>
        <dsp:cNvPr id="0" name=""/>
        <dsp:cNvSpPr/>
      </dsp:nvSpPr>
      <dsp:spPr>
        <a:xfrm>
          <a:off x="0" y="252721"/>
          <a:ext cx="7416824" cy="148837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5628" tIns="874776" rIns="57562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Incentivar la Certificación de Calidad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Estímulos a los estudiantes que participan en este tipo de formación.</a:t>
          </a:r>
          <a:endParaRPr lang="es-CO" sz="1600" kern="1200" dirty="0"/>
        </a:p>
      </dsp:txBody>
      <dsp:txXfrm>
        <a:off x="0" y="252721"/>
        <a:ext cx="7416824" cy="1488374"/>
      </dsp:txXfrm>
    </dsp:sp>
    <dsp:sp modelId="{6E6C57BF-2106-4A02-9A95-C2FCD12292EA}">
      <dsp:nvSpPr>
        <dsp:cNvPr id="0" name=""/>
        <dsp:cNvSpPr/>
      </dsp:nvSpPr>
      <dsp:spPr>
        <a:xfrm>
          <a:off x="370841" y="5758"/>
          <a:ext cx="5191776" cy="86688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237" tIns="0" rIns="19623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INCENTIVOS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413159" y="48076"/>
        <a:ext cx="5107140" cy="782247"/>
      </dsp:txXfrm>
    </dsp:sp>
    <dsp:sp modelId="{CA190715-518D-4A45-8E5D-1E4D58CFF52A}">
      <dsp:nvSpPr>
        <dsp:cNvPr id="0" name=""/>
        <dsp:cNvSpPr/>
      </dsp:nvSpPr>
      <dsp:spPr>
        <a:xfrm>
          <a:off x="0" y="2160239"/>
          <a:ext cx="7416824" cy="201757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5628" tIns="874776" rIns="57562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Creación de estrategias de mercado, necesidades y requerimientos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Sistema Nacional de Acreditación análogo al de Educación Superior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Fortalecer las Redes Nacionales e Internacionales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tar con respaldo de plataforma virtual</a:t>
          </a:r>
          <a:endParaRPr lang="es-CO" sz="1600" kern="1200" dirty="0"/>
        </a:p>
      </dsp:txBody>
      <dsp:txXfrm>
        <a:off x="0" y="2160239"/>
        <a:ext cx="7416824" cy="2017575"/>
      </dsp:txXfrm>
    </dsp:sp>
    <dsp:sp modelId="{8ADE97C1-A072-4A1F-98D0-3D1F6709BE99}">
      <dsp:nvSpPr>
        <dsp:cNvPr id="0" name=""/>
        <dsp:cNvSpPr/>
      </dsp:nvSpPr>
      <dsp:spPr>
        <a:xfrm>
          <a:off x="370841" y="1967896"/>
          <a:ext cx="5191776" cy="87716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237" tIns="0" rIns="19623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OTROS 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413661" y="2010716"/>
        <a:ext cx="5106136" cy="791522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BA77A-8CC4-4500-B01A-7AEBE3488E5B}">
      <dsp:nvSpPr>
        <dsp:cNvPr id="0" name=""/>
        <dsp:cNvSpPr/>
      </dsp:nvSpPr>
      <dsp:spPr>
        <a:xfrm>
          <a:off x="0" y="70001"/>
          <a:ext cx="7227546" cy="4517216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5CED8AA-C928-AF43-B868-2B1BF60BFDC1}">
      <dsp:nvSpPr>
        <dsp:cNvPr id="0" name=""/>
        <dsp:cNvSpPr/>
      </dsp:nvSpPr>
      <dsp:spPr>
        <a:xfrm flipH="1" flipV="1">
          <a:off x="1258527" y="2774979"/>
          <a:ext cx="327754" cy="371431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910CD7B-845B-074F-B544-7E6C129FD763}">
      <dsp:nvSpPr>
        <dsp:cNvPr id="0" name=""/>
        <dsp:cNvSpPr/>
      </dsp:nvSpPr>
      <dsp:spPr>
        <a:xfrm>
          <a:off x="699177" y="2726890"/>
          <a:ext cx="2969576" cy="9833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9573" bIns="0" numCol="1" spcCol="1270" anchor="b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latin typeface="Arial" pitchFamily="34" charset="0"/>
              <a:cs typeface="Arial" pitchFamily="34" charset="0"/>
            </a:rPr>
            <a:t>Articulación de la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latin typeface="Arial" pitchFamily="34" charset="0"/>
              <a:cs typeface="Arial" pitchFamily="34" charset="0"/>
            </a:rPr>
            <a:t> EM, ES  y FTDH</a:t>
          </a:r>
          <a:endParaRPr lang="es-CO" sz="1400" b="1" kern="1200" dirty="0">
            <a:latin typeface="Arial" pitchFamily="34" charset="0"/>
            <a:cs typeface="Arial" pitchFamily="34" charset="0"/>
          </a:endParaRPr>
        </a:p>
      </dsp:txBody>
      <dsp:txXfrm>
        <a:off x="699177" y="2726890"/>
        <a:ext cx="2969576" cy="983338"/>
      </dsp:txXfrm>
    </dsp:sp>
    <dsp:sp modelId="{679EB959-2AE1-5547-BCBC-3D8E56C7D151}">
      <dsp:nvSpPr>
        <dsp:cNvPr id="0" name=""/>
        <dsp:cNvSpPr/>
      </dsp:nvSpPr>
      <dsp:spPr>
        <a:xfrm>
          <a:off x="3016379" y="1817966"/>
          <a:ext cx="339694" cy="339694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2340759"/>
                <a:satOff val="-2919"/>
                <a:lumOff val="686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994E9EA-B7B4-8749-9F2A-0CA4FCDDAFF7}">
      <dsp:nvSpPr>
        <dsp:cNvPr id="0" name=""/>
        <dsp:cNvSpPr/>
      </dsp:nvSpPr>
      <dsp:spPr>
        <a:xfrm>
          <a:off x="1048769" y="1086555"/>
          <a:ext cx="2293971" cy="661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79997" bIns="0" numCol="1" spcCol="1270" anchor="b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rticulación de acciones con aliados- Mintrabajo, SENA, DNP, CONPES.</a:t>
          </a:r>
        </a:p>
      </dsp:txBody>
      <dsp:txXfrm>
        <a:off x="1048769" y="1086555"/>
        <a:ext cx="2293971" cy="661479"/>
      </dsp:txXfrm>
    </dsp:sp>
    <dsp:sp modelId="{505B70CA-48C0-6A4F-87DD-68A604E82D0F}">
      <dsp:nvSpPr>
        <dsp:cNvPr id="0" name=""/>
        <dsp:cNvSpPr/>
      </dsp:nvSpPr>
      <dsp:spPr>
        <a:xfrm>
          <a:off x="5060852" y="1296515"/>
          <a:ext cx="469790" cy="469790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9DCA420-02A9-C945-A485-10652C0586F9}">
      <dsp:nvSpPr>
        <dsp:cNvPr id="0" name=""/>
        <dsp:cNvSpPr/>
      </dsp:nvSpPr>
      <dsp:spPr>
        <a:xfrm>
          <a:off x="3308889" y="489514"/>
          <a:ext cx="2564240" cy="859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8932" bIns="0" numCol="1" spcCol="1270" anchor="b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cciones de trabajo interinstitucional y coordinación de alianzas público y privadas</a:t>
          </a:r>
          <a:endParaRPr lang="es-CO" sz="1400" b="1" i="0" kern="1200" dirty="0">
            <a:latin typeface="Arial" pitchFamily="34" charset="0"/>
            <a:cs typeface="Arial" pitchFamily="34" charset="0"/>
          </a:endParaRPr>
        </a:p>
      </dsp:txBody>
      <dsp:txXfrm>
        <a:off x="3308889" y="489514"/>
        <a:ext cx="2564240" cy="8596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DC7A22-CE67-4A7F-8358-F0A6A85EBFEA}">
      <dsp:nvSpPr>
        <dsp:cNvPr id="0" name=""/>
        <dsp:cNvSpPr/>
      </dsp:nvSpPr>
      <dsp:spPr>
        <a:xfrm>
          <a:off x="2434764" y="1117158"/>
          <a:ext cx="2343826" cy="2343826"/>
        </a:xfrm>
        <a:prstGeom prst="ellipse">
          <a:avLst/>
        </a:prstGeom>
        <a:solidFill>
          <a:schemeClr val="accent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3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ALIDAD</a:t>
          </a:r>
          <a:endParaRPr lang="es-CO" sz="3300" b="1" kern="1200" dirty="0">
            <a:effectLst/>
          </a:endParaRPr>
        </a:p>
      </dsp:txBody>
      <dsp:txXfrm>
        <a:off x="2778009" y="1460403"/>
        <a:ext cx="1657336" cy="1657336"/>
      </dsp:txXfrm>
    </dsp:sp>
    <dsp:sp modelId="{7C952903-E6D3-4C9A-91A6-E9C5B57C1B54}">
      <dsp:nvSpPr>
        <dsp:cNvPr id="0" name=""/>
        <dsp:cNvSpPr/>
      </dsp:nvSpPr>
      <dsp:spPr>
        <a:xfrm>
          <a:off x="2769791" y="-71901"/>
          <a:ext cx="1673773" cy="1672191"/>
        </a:xfrm>
        <a:prstGeom prst="ellipse">
          <a:avLst/>
        </a:prstGeom>
        <a:solidFill>
          <a:srgbClr val="E7D287">
            <a:alpha val="50000"/>
          </a:srgb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errar Brechas con Enfoque Regional</a:t>
          </a:r>
          <a:endParaRPr lang="es-CO" sz="1600" b="1" kern="1200" dirty="0">
            <a:effectLst/>
          </a:endParaRPr>
        </a:p>
      </dsp:txBody>
      <dsp:txXfrm>
        <a:off x="3014909" y="172986"/>
        <a:ext cx="1183537" cy="1182417"/>
      </dsp:txXfrm>
    </dsp:sp>
    <dsp:sp modelId="{A3D4FAAF-AABB-4735-9014-1E13443164EF}">
      <dsp:nvSpPr>
        <dsp:cNvPr id="0" name=""/>
        <dsp:cNvSpPr/>
      </dsp:nvSpPr>
      <dsp:spPr>
        <a:xfrm>
          <a:off x="3984574" y="2215415"/>
          <a:ext cx="1885374" cy="1672191"/>
        </a:xfrm>
        <a:prstGeom prst="ellipse">
          <a:avLst/>
        </a:prstGeom>
        <a:solidFill>
          <a:srgbClr val="FF9900">
            <a:alpha val="50000"/>
          </a:srgb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Innovación y Pertinencia</a:t>
          </a:r>
          <a:endParaRPr lang="es-CO" sz="1800" b="1" kern="1200" dirty="0">
            <a:effectLst/>
          </a:endParaRPr>
        </a:p>
      </dsp:txBody>
      <dsp:txXfrm>
        <a:off x="4260681" y="2460302"/>
        <a:ext cx="1333160" cy="1182417"/>
      </dsp:txXfrm>
    </dsp:sp>
    <dsp:sp modelId="{7B200E48-2B25-4FBB-A807-45DD431A5277}">
      <dsp:nvSpPr>
        <dsp:cNvPr id="0" name=""/>
        <dsp:cNvSpPr/>
      </dsp:nvSpPr>
      <dsp:spPr>
        <a:xfrm>
          <a:off x="1274653" y="2215415"/>
          <a:ext cx="1673773" cy="1672191"/>
        </a:xfrm>
        <a:prstGeom prst="ellipse">
          <a:avLst/>
        </a:prstGeom>
        <a:solidFill>
          <a:schemeClr val="accent6">
            <a:lumMod val="50000"/>
            <a:alpha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Modelo de Gestión</a:t>
          </a:r>
          <a:endParaRPr lang="es-CO" sz="1800" b="1" kern="1200" dirty="0">
            <a:effectLst/>
          </a:endParaRPr>
        </a:p>
      </dsp:txBody>
      <dsp:txXfrm>
        <a:off x="1519771" y="2460302"/>
        <a:ext cx="1183537" cy="118241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BA77A-8CC4-4500-B01A-7AEBE3488E5B}">
      <dsp:nvSpPr>
        <dsp:cNvPr id="0" name=""/>
        <dsp:cNvSpPr/>
      </dsp:nvSpPr>
      <dsp:spPr>
        <a:xfrm>
          <a:off x="0" y="0"/>
          <a:ext cx="7443570" cy="4652231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5CED8AA-C928-AF43-B868-2B1BF60BFDC1}">
      <dsp:nvSpPr>
        <dsp:cNvPr id="0" name=""/>
        <dsp:cNvSpPr/>
      </dsp:nvSpPr>
      <dsp:spPr>
        <a:xfrm flipH="1" flipV="1">
          <a:off x="1296143" y="2785820"/>
          <a:ext cx="337550" cy="38253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910CD7B-845B-074F-B544-7E6C129FD763}">
      <dsp:nvSpPr>
        <dsp:cNvPr id="0" name=""/>
        <dsp:cNvSpPr/>
      </dsp:nvSpPr>
      <dsp:spPr>
        <a:xfrm>
          <a:off x="1080120" y="2803705"/>
          <a:ext cx="3058333" cy="10127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2549" bIns="0" numCol="1" spcCol="1270" anchor="b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latin typeface="Arial" pitchFamily="34" charset="0"/>
              <a:cs typeface="Arial" pitchFamily="34" charset="0"/>
            </a:rPr>
            <a:t>Redes Nacionales e Internacionales de FT impulsadas</a:t>
          </a:r>
          <a:endParaRPr lang="es-CO" sz="1400" b="1" kern="1200" dirty="0">
            <a:latin typeface="Arial" pitchFamily="34" charset="0"/>
            <a:cs typeface="Arial" pitchFamily="34" charset="0"/>
          </a:endParaRPr>
        </a:p>
      </dsp:txBody>
      <dsp:txXfrm>
        <a:off x="1080120" y="2803705"/>
        <a:ext cx="3058333" cy="1012729"/>
      </dsp:txXfrm>
    </dsp:sp>
    <dsp:sp modelId="{679EB959-2AE1-5547-BCBC-3D8E56C7D151}">
      <dsp:nvSpPr>
        <dsp:cNvPr id="0" name=""/>
        <dsp:cNvSpPr/>
      </dsp:nvSpPr>
      <dsp:spPr>
        <a:xfrm>
          <a:off x="3106536" y="1800203"/>
          <a:ext cx="349847" cy="349847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2340759"/>
                <a:satOff val="-2919"/>
                <a:lumOff val="686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994E9EA-B7B4-8749-9F2A-0CA4FCDDAFF7}">
      <dsp:nvSpPr>
        <dsp:cNvPr id="0" name=""/>
        <dsp:cNvSpPr/>
      </dsp:nvSpPr>
      <dsp:spPr>
        <a:xfrm>
          <a:off x="1080116" y="1118953"/>
          <a:ext cx="2362535" cy="68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85377" bIns="0" numCol="1" spcCol="1270" anchor="b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es-CO" sz="1400" b="1" kern="1200" dirty="0" smtClean="0">
              <a:latin typeface="Arial" pitchFamily="34" charset="0"/>
              <a:cs typeface="Arial" pitchFamily="34" charset="0"/>
            </a:rPr>
            <a:t>Observatorio Laboral con Formación para el Trabajo incluida</a:t>
          </a:r>
          <a:endParaRPr lang="es-CO" sz="14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1080116" y="1118953"/>
        <a:ext cx="2362535" cy="681250"/>
      </dsp:txXfrm>
    </dsp:sp>
    <dsp:sp modelId="{505B70CA-48C0-6A4F-87DD-68A604E82D0F}">
      <dsp:nvSpPr>
        <dsp:cNvPr id="0" name=""/>
        <dsp:cNvSpPr/>
      </dsp:nvSpPr>
      <dsp:spPr>
        <a:xfrm>
          <a:off x="5212116" y="1263166"/>
          <a:ext cx="483832" cy="483832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9DCA420-02A9-C945-A485-10652C0586F9}">
      <dsp:nvSpPr>
        <dsp:cNvPr id="0" name=""/>
        <dsp:cNvSpPr/>
      </dsp:nvSpPr>
      <dsp:spPr>
        <a:xfrm>
          <a:off x="3479801" y="432045"/>
          <a:ext cx="2640883" cy="8853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6373" bIns="0" numCol="1" spcCol="1270" anchor="b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i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r>
            <a:rPr lang="es-CO" sz="1400" b="1" kern="1200" dirty="0" smtClean="0">
              <a:latin typeface="Arial" pitchFamily="34" charset="0"/>
              <a:cs typeface="Arial" pitchFamily="34" charset="0"/>
            </a:rPr>
            <a:t>Investigación  y Desarrollo Tecnológico impulsado</a:t>
          </a:r>
          <a:r>
            <a:rPr lang="es-ES" sz="1400" b="1" i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400" b="1" i="0" kern="1200" dirty="0">
            <a:latin typeface="Arial" pitchFamily="34" charset="0"/>
            <a:cs typeface="Arial" pitchFamily="34" charset="0"/>
          </a:endParaRPr>
        </a:p>
      </dsp:txBody>
      <dsp:txXfrm>
        <a:off x="3479801" y="432045"/>
        <a:ext cx="2640883" cy="88532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BA77A-8CC4-4500-B01A-7AEBE3488E5B}">
      <dsp:nvSpPr>
        <dsp:cNvPr id="0" name=""/>
        <dsp:cNvSpPr/>
      </dsp:nvSpPr>
      <dsp:spPr>
        <a:xfrm>
          <a:off x="0" y="0"/>
          <a:ext cx="7443570" cy="4652231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5CED8AA-C928-AF43-B868-2B1BF60BFDC1}">
      <dsp:nvSpPr>
        <dsp:cNvPr id="0" name=""/>
        <dsp:cNvSpPr/>
      </dsp:nvSpPr>
      <dsp:spPr>
        <a:xfrm flipH="1" flipV="1">
          <a:off x="991116" y="2785820"/>
          <a:ext cx="337550" cy="38253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910CD7B-845B-074F-B544-7E6C129FD763}">
      <dsp:nvSpPr>
        <dsp:cNvPr id="0" name=""/>
        <dsp:cNvSpPr/>
      </dsp:nvSpPr>
      <dsp:spPr>
        <a:xfrm>
          <a:off x="1224133" y="2803705"/>
          <a:ext cx="1838222" cy="10127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2549" bIns="0" numCol="1" spcCol="1270" anchor="b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cs typeface="Arial"/>
            </a:rPr>
            <a:t>Modelo de gestión por procesos  fortalecido.</a:t>
          </a:r>
          <a:endParaRPr lang="es-CO" sz="1600" b="1" kern="1200" dirty="0" smtClean="0">
            <a:cs typeface="Arial" pitchFamily="34" charset="0"/>
          </a:endParaRPr>
        </a:p>
      </dsp:txBody>
      <dsp:txXfrm>
        <a:off x="1224133" y="2803705"/>
        <a:ext cx="1838222" cy="1012729"/>
      </dsp:txXfrm>
    </dsp:sp>
    <dsp:sp modelId="{679EB959-2AE1-5547-BCBC-3D8E56C7D151}">
      <dsp:nvSpPr>
        <dsp:cNvPr id="0" name=""/>
        <dsp:cNvSpPr/>
      </dsp:nvSpPr>
      <dsp:spPr>
        <a:xfrm>
          <a:off x="2801508" y="1800203"/>
          <a:ext cx="349847" cy="349847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2340759"/>
                <a:satOff val="-2919"/>
                <a:lumOff val="686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994E9EA-B7B4-8749-9F2A-0CA4FCDDAFF7}">
      <dsp:nvSpPr>
        <dsp:cNvPr id="0" name=""/>
        <dsp:cNvSpPr/>
      </dsp:nvSpPr>
      <dsp:spPr>
        <a:xfrm>
          <a:off x="775088" y="1118953"/>
          <a:ext cx="2362535" cy="68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85377" bIns="0" numCol="1" spcCol="1270" anchor="b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es-CO" sz="1600" b="1" kern="1200" dirty="0" smtClean="0">
              <a:cs typeface="Arial"/>
            </a:rPr>
            <a:t> Sistema de Información de Aseguramiento de Calidad- SIET fortalecido </a:t>
          </a:r>
          <a:r>
            <a:rPr lang="es-ES" sz="1600" b="1" i="0" kern="120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6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775088" y="1118953"/>
        <a:ext cx="2362535" cy="681250"/>
      </dsp:txXfrm>
    </dsp:sp>
    <dsp:sp modelId="{505B70CA-48C0-6A4F-87DD-68A604E82D0F}">
      <dsp:nvSpPr>
        <dsp:cNvPr id="0" name=""/>
        <dsp:cNvSpPr/>
      </dsp:nvSpPr>
      <dsp:spPr>
        <a:xfrm>
          <a:off x="4907088" y="1263166"/>
          <a:ext cx="483832" cy="483832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9DCA420-02A9-C945-A485-10652C0586F9}">
      <dsp:nvSpPr>
        <dsp:cNvPr id="0" name=""/>
        <dsp:cNvSpPr/>
      </dsp:nvSpPr>
      <dsp:spPr>
        <a:xfrm>
          <a:off x="3102761" y="432045"/>
          <a:ext cx="2640883" cy="8853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6373" bIns="0" numCol="1" spcCol="1270" anchor="b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ea typeface="Lucida Grande"/>
              <a:cs typeface="Arial"/>
            </a:rPr>
            <a:t>Distribución equitativa, el seguimiento y el control a los recursos de FTDH</a:t>
          </a:r>
          <a:r>
            <a:rPr lang="es-ES" sz="1600" b="1" i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600" b="1" i="0" kern="1200" dirty="0">
            <a:latin typeface="Arial" pitchFamily="34" charset="0"/>
            <a:cs typeface="Arial" pitchFamily="34" charset="0"/>
          </a:endParaRPr>
        </a:p>
      </dsp:txBody>
      <dsp:txXfrm>
        <a:off x="3102761" y="432045"/>
        <a:ext cx="2640883" cy="885327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579D3F-50A9-40E8-825D-04F9E7798421}">
      <dsp:nvSpPr>
        <dsp:cNvPr id="0" name=""/>
        <dsp:cNvSpPr/>
      </dsp:nvSpPr>
      <dsp:spPr>
        <a:xfrm>
          <a:off x="1395155" y="832362"/>
          <a:ext cx="2862318" cy="2862318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D8C528-23E5-428D-998D-6FA95DD3EAF3}">
      <dsp:nvSpPr>
        <dsp:cNvPr id="0" name=""/>
        <dsp:cNvSpPr/>
      </dsp:nvSpPr>
      <dsp:spPr>
        <a:xfrm>
          <a:off x="1713110" y="1150317"/>
          <a:ext cx="2226406" cy="222640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2935D1-3531-4C66-8AF2-61A333B04468}">
      <dsp:nvSpPr>
        <dsp:cNvPr id="0" name=""/>
        <dsp:cNvSpPr/>
      </dsp:nvSpPr>
      <dsp:spPr>
        <a:xfrm>
          <a:off x="2031066" y="1468273"/>
          <a:ext cx="1590494" cy="1590494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AB410B-21F0-4D4B-921D-250ABD5FCBCA}">
      <dsp:nvSpPr>
        <dsp:cNvPr id="0" name=""/>
        <dsp:cNvSpPr/>
      </dsp:nvSpPr>
      <dsp:spPr>
        <a:xfrm>
          <a:off x="2349261" y="1786468"/>
          <a:ext cx="954106" cy="95410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2C7D75-F4B4-4A2B-A792-0F99DA7EB9C1}">
      <dsp:nvSpPr>
        <dsp:cNvPr id="0" name=""/>
        <dsp:cNvSpPr/>
      </dsp:nvSpPr>
      <dsp:spPr>
        <a:xfrm>
          <a:off x="2667216" y="2104423"/>
          <a:ext cx="318194" cy="31819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FC0587-71D3-4824-AEC2-30942CCF1898}">
      <dsp:nvSpPr>
        <dsp:cNvPr id="0" name=""/>
        <dsp:cNvSpPr/>
      </dsp:nvSpPr>
      <dsp:spPr>
        <a:xfrm>
          <a:off x="4734525" y="121743"/>
          <a:ext cx="1431159" cy="505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/>
            <a:t>GESTIÓN DEL CONOCIMIENTO</a:t>
          </a:r>
          <a:endParaRPr lang="es-CO" sz="1100" b="1" kern="1200" dirty="0"/>
        </a:p>
      </dsp:txBody>
      <dsp:txXfrm>
        <a:off x="4734525" y="121743"/>
        <a:ext cx="1431159" cy="505294"/>
      </dsp:txXfrm>
    </dsp:sp>
    <dsp:sp modelId="{A1EB0437-EF2E-4588-9841-AB808B3F8758}">
      <dsp:nvSpPr>
        <dsp:cNvPr id="0" name=""/>
        <dsp:cNvSpPr/>
      </dsp:nvSpPr>
      <dsp:spPr>
        <a:xfrm>
          <a:off x="4376736" y="374391"/>
          <a:ext cx="3577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0AAFF1-981B-491C-AA7F-7DFCB8F4B662}">
      <dsp:nvSpPr>
        <dsp:cNvPr id="0" name=""/>
        <dsp:cNvSpPr/>
      </dsp:nvSpPr>
      <dsp:spPr>
        <a:xfrm rot="5400000">
          <a:off x="2655767" y="544937"/>
          <a:ext cx="1889129" cy="1548036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393426-5ACF-461E-9481-8FD1B9CAB812}">
      <dsp:nvSpPr>
        <dsp:cNvPr id="0" name=""/>
        <dsp:cNvSpPr/>
      </dsp:nvSpPr>
      <dsp:spPr>
        <a:xfrm>
          <a:off x="4734525" y="656043"/>
          <a:ext cx="1431159" cy="505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/>
            <a:t>FORMULACIÓN Y ADOPCIÓN DE POLITICAS</a:t>
          </a:r>
          <a:endParaRPr lang="es-CO" sz="1100" b="1" kern="1200" dirty="0"/>
        </a:p>
      </dsp:txBody>
      <dsp:txXfrm>
        <a:off x="4734525" y="656043"/>
        <a:ext cx="1431159" cy="505294"/>
      </dsp:txXfrm>
    </dsp:sp>
    <dsp:sp modelId="{DAC3F27D-40FE-4490-9FEB-1AA2D81ABE14}">
      <dsp:nvSpPr>
        <dsp:cNvPr id="0" name=""/>
        <dsp:cNvSpPr/>
      </dsp:nvSpPr>
      <dsp:spPr>
        <a:xfrm>
          <a:off x="4376736" y="908690"/>
          <a:ext cx="3577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430629-A8C5-4064-821A-57410F41D9B1}">
      <dsp:nvSpPr>
        <dsp:cNvPr id="0" name=""/>
        <dsp:cNvSpPr/>
      </dsp:nvSpPr>
      <dsp:spPr>
        <a:xfrm rot="5400000">
          <a:off x="2933364" y="1038639"/>
          <a:ext cx="1572939" cy="1311895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9021AA-CFE1-47CA-8E83-66321CABC21D}">
      <dsp:nvSpPr>
        <dsp:cNvPr id="0" name=""/>
        <dsp:cNvSpPr/>
      </dsp:nvSpPr>
      <dsp:spPr>
        <a:xfrm>
          <a:off x="4734525" y="1190342"/>
          <a:ext cx="1431159" cy="505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/>
            <a:t>IMPLEMENTACIÓN DE POLITICAS</a:t>
          </a:r>
          <a:endParaRPr lang="es-CO" sz="1100" b="1" kern="1200" dirty="0"/>
        </a:p>
      </dsp:txBody>
      <dsp:txXfrm>
        <a:off x="4734525" y="1190342"/>
        <a:ext cx="1431159" cy="505294"/>
      </dsp:txXfrm>
    </dsp:sp>
    <dsp:sp modelId="{F49179A0-3AFD-4B58-9D7A-B472D2FDB571}">
      <dsp:nvSpPr>
        <dsp:cNvPr id="0" name=""/>
        <dsp:cNvSpPr/>
      </dsp:nvSpPr>
      <dsp:spPr>
        <a:xfrm>
          <a:off x="4376736" y="1442989"/>
          <a:ext cx="3577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026F6-E197-47AB-B273-2DBCC142B02E}">
      <dsp:nvSpPr>
        <dsp:cNvPr id="0" name=""/>
        <dsp:cNvSpPr/>
      </dsp:nvSpPr>
      <dsp:spPr>
        <a:xfrm rot="5400000">
          <a:off x="3205571" y="1512162"/>
          <a:ext cx="1240337" cy="1101992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19E444-4D17-410E-B716-E6079AF32307}">
      <dsp:nvSpPr>
        <dsp:cNvPr id="0" name=""/>
        <dsp:cNvSpPr/>
      </dsp:nvSpPr>
      <dsp:spPr>
        <a:xfrm>
          <a:off x="4734525" y="1713192"/>
          <a:ext cx="1431159" cy="505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/>
            <a:t>MONITOREO, VIGILANCIA Y CONTROL</a:t>
          </a:r>
          <a:endParaRPr lang="es-CO" sz="1100" b="1" kern="1200" dirty="0"/>
        </a:p>
      </dsp:txBody>
      <dsp:txXfrm>
        <a:off x="4734525" y="1713192"/>
        <a:ext cx="1431159" cy="505294"/>
      </dsp:txXfrm>
    </dsp:sp>
    <dsp:sp modelId="{E88B520E-321D-43C0-96E4-F53CE8476E42}">
      <dsp:nvSpPr>
        <dsp:cNvPr id="0" name=""/>
        <dsp:cNvSpPr/>
      </dsp:nvSpPr>
      <dsp:spPr>
        <a:xfrm>
          <a:off x="4376736" y="1965840"/>
          <a:ext cx="3577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B633D2-62A5-46D6-BEF5-B8F291BA8291}">
      <dsp:nvSpPr>
        <dsp:cNvPr id="0" name=""/>
        <dsp:cNvSpPr/>
      </dsp:nvSpPr>
      <dsp:spPr>
        <a:xfrm rot="5400000">
          <a:off x="3476537" y="2012114"/>
          <a:ext cx="946473" cy="853924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E769C1-BD79-4883-8685-0F82F9D05BF3}">
      <dsp:nvSpPr>
        <dsp:cNvPr id="0" name=""/>
        <dsp:cNvSpPr/>
      </dsp:nvSpPr>
      <dsp:spPr>
        <a:xfrm>
          <a:off x="4734525" y="2220777"/>
          <a:ext cx="1431159" cy="505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/>
            <a:t>GESTION Y ARTICULACION DE LAS PARTES</a:t>
          </a:r>
          <a:endParaRPr lang="es-CO" sz="1100" b="1" kern="1200" dirty="0"/>
        </a:p>
      </dsp:txBody>
      <dsp:txXfrm>
        <a:off x="4734525" y="2220777"/>
        <a:ext cx="1431159" cy="505294"/>
      </dsp:txXfrm>
    </dsp:sp>
    <dsp:sp modelId="{CCF989F5-6B50-4F88-A0D4-FBEF2B0B683B}">
      <dsp:nvSpPr>
        <dsp:cNvPr id="0" name=""/>
        <dsp:cNvSpPr/>
      </dsp:nvSpPr>
      <dsp:spPr>
        <a:xfrm>
          <a:off x="4376736" y="2473424"/>
          <a:ext cx="3577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518D54-9F0D-454B-97DF-F030D051B4F9}">
      <dsp:nvSpPr>
        <dsp:cNvPr id="0" name=""/>
        <dsp:cNvSpPr/>
      </dsp:nvSpPr>
      <dsp:spPr>
        <a:xfrm rot="5400000">
          <a:off x="3732714" y="2497277"/>
          <a:ext cx="667874" cy="620168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37217A-60E8-4486-91D3-00ABFF0C9208}">
      <dsp:nvSpPr>
        <dsp:cNvPr id="0" name=""/>
        <dsp:cNvSpPr/>
      </dsp:nvSpPr>
      <dsp:spPr>
        <a:xfrm>
          <a:off x="3656" y="341915"/>
          <a:ext cx="1870379" cy="5680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700" b="1" kern="1200" dirty="0" smtClean="0"/>
            <a:t>ÁMBITO DE CALIDAD</a:t>
          </a:r>
          <a:endParaRPr lang="es-CO" sz="1700" b="1" kern="1200" dirty="0"/>
        </a:p>
      </dsp:txBody>
      <dsp:txXfrm>
        <a:off x="3656" y="341915"/>
        <a:ext cx="1870379" cy="568012"/>
      </dsp:txXfrm>
    </dsp:sp>
    <dsp:sp modelId="{2A249A0F-2B19-4081-B596-AFEEFB00AEC6}">
      <dsp:nvSpPr>
        <dsp:cNvPr id="0" name=""/>
        <dsp:cNvSpPr/>
      </dsp:nvSpPr>
      <dsp:spPr>
        <a:xfrm>
          <a:off x="1874036" y="182161"/>
          <a:ext cx="374075" cy="887519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C88672-20D1-4CF1-8191-18C470C93209}">
      <dsp:nvSpPr>
        <dsp:cNvPr id="0" name=""/>
        <dsp:cNvSpPr/>
      </dsp:nvSpPr>
      <dsp:spPr>
        <a:xfrm>
          <a:off x="2397742" y="182161"/>
          <a:ext cx="5087432" cy="88751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Formalizar la adopción del modelo de aseguramiento de la calidad</a:t>
          </a:r>
          <a:endParaRPr lang="es-CO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Actualizar el marco regulatorio de la FPT</a:t>
          </a:r>
          <a:endParaRPr lang="es-CO" sz="1700" kern="1200" dirty="0"/>
        </a:p>
      </dsp:txBody>
      <dsp:txXfrm>
        <a:off x="2397742" y="182161"/>
        <a:ext cx="5087432" cy="887519"/>
      </dsp:txXfrm>
    </dsp:sp>
    <dsp:sp modelId="{48BF8545-62FB-48D0-BF6C-B1E5382DA192}">
      <dsp:nvSpPr>
        <dsp:cNvPr id="0" name=""/>
        <dsp:cNvSpPr/>
      </dsp:nvSpPr>
      <dsp:spPr>
        <a:xfrm>
          <a:off x="3656" y="1267624"/>
          <a:ext cx="1870379" cy="336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700" b="1" kern="1200" dirty="0" smtClean="0"/>
            <a:t>REDES</a:t>
          </a:r>
          <a:endParaRPr lang="es-CO" sz="1700" b="1" kern="1200" dirty="0"/>
        </a:p>
      </dsp:txBody>
      <dsp:txXfrm>
        <a:off x="3656" y="1267624"/>
        <a:ext cx="1870379" cy="336600"/>
      </dsp:txXfrm>
    </dsp:sp>
    <dsp:sp modelId="{F6011C12-C47D-48F7-AA89-AACEE724CC0F}">
      <dsp:nvSpPr>
        <dsp:cNvPr id="0" name=""/>
        <dsp:cNvSpPr/>
      </dsp:nvSpPr>
      <dsp:spPr>
        <a:xfrm>
          <a:off x="1874036" y="1130881"/>
          <a:ext cx="374075" cy="610087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7EAD1-296E-40CD-93AE-D6CD3F8417E2}">
      <dsp:nvSpPr>
        <dsp:cNvPr id="0" name=""/>
        <dsp:cNvSpPr/>
      </dsp:nvSpPr>
      <dsp:spPr>
        <a:xfrm>
          <a:off x="2397742" y="1130881"/>
          <a:ext cx="5087432" cy="610087"/>
        </a:xfrm>
        <a:prstGeom prst="rect">
          <a:avLst/>
        </a:prstGeom>
        <a:gradFill rotWithShape="0">
          <a:gsLst>
            <a:gs pos="0">
              <a:schemeClr val="accent2">
                <a:hueOff val="1560506"/>
                <a:satOff val="-1946"/>
                <a:lumOff val="458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560506"/>
                <a:satOff val="-1946"/>
                <a:lumOff val="458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560506"/>
                <a:satOff val="-1946"/>
                <a:lumOff val="458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Fortalecer  las existentes y propender por nuevas desde la mirada global e internacional</a:t>
          </a:r>
          <a:endParaRPr lang="es-CO" sz="1700" kern="1200" dirty="0"/>
        </a:p>
      </dsp:txBody>
      <dsp:txXfrm>
        <a:off x="2397742" y="1130881"/>
        <a:ext cx="5087432" cy="610087"/>
      </dsp:txXfrm>
    </dsp:sp>
    <dsp:sp modelId="{3A7A7695-5B13-450E-98E6-6395BDCAAF31}">
      <dsp:nvSpPr>
        <dsp:cNvPr id="0" name=""/>
        <dsp:cNvSpPr/>
      </dsp:nvSpPr>
      <dsp:spPr>
        <a:xfrm>
          <a:off x="3656" y="2077299"/>
          <a:ext cx="1870379" cy="5680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700" b="1" kern="1200" dirty="0" smtClean="0"/>
            <a:t>CAPITAL HUMANO</a:t>
          </a:r>
          <a:endParaRPr lang="es-CO" sz="1700" b="1" kern="1200" dirty="0"/>
        </a:p>
      </dsp:txBody>
      <dsp:txXfrm>
        <a:off x="3656" y="2077299"/>
        <a:ext cx="1870379" cy="568012"/>
      </dsp:txXfrm>
    </dsp:sp>
    <dsp:sp modelId="{2F54AE2C-DE06-438F-A8AA-DDE061E301AA}">
      <dsp:nvSpPr>
        <dsp:cNvPr id="0" name=""/>
        <dsp:cNvSpPr/>
      </dsp:nvSpPr>
      <dsp:spPr>
        <a:xfrm>
          <a:off x="1874036" y="1802168"/>
          <a:ext cx="374075" cy="1118274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5D75E-3B36-4A58-8BE9-931EF235A6E1}">
      <dsp:nvSpPr>
        <dsp:cNvPr id="0" name=""/>
        <dsp:cNvSpPr/>
      </dsp:nvSpPr>
      <dsp:spPr>
        <a:xfrm>
          <a:off x="2397742" y="1802168"/>
          <a:ext cx="5087432" cy="1118274"/>
        </a:xfrm>
        <a:prstGeom prst="rect">
          <a:avLst/>
        </a:prstGeom>
        <a:gradFill rotWithShape="0">
          <a:gsLst>
            <a:gs pos="0">
              <a:schemeClr val="accent2">
                <a:hueOff val="3121013"/>
                <a:satOff val="-3893"/>
                <a:lumOff val="915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121013"/>
                <a:satOff val="-3893"/>
                <a:lumOff val="915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121013"/>
                <a:satOff val="-3893"/>
                <a:lumOff val="915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Formar parte </a:t>
          </a:r>
          <a:r>
            <a:rPr lang="es-CO" sz="1700" kern="1200" smtClean="0"/>
            <a:t>integralal</a:t>
          </a:r>
          <a:r>
            <a:rPr lang="es-CO" sz="1700" kern="1200" dirty="0" smtClean="0"/>
            <a:t> del Marco Nacional de Cualificaciones</a:t>
          </a:r>
          <a:endParaRPr lang="es-CO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Convertirse en pasarela para la movilidad de los jóvenes en la </a:t>
          </a:r>
          <a:r>
            <a:rPr lang="es-CO" sz="1700" kern="1200" dirty="0" err="1" smtClean="0"/>
            <a:t>posmedia</a:t>
          </a:r>
          <a:endParaRPr lang="es-CO" sz="1700" kern="1200" dirty="0"/>
        </a:p>
      </dsp:txBody>
      <dsp:txXfrm>
        <a:off x="2397742" y="1802168"/>
        <a:ext cx="5087432" cy="1118274"/>
      </dsp:txXfrm>
    </dsp:sp>
    <dsp:sp modelId="{3265399B-BC14-49E3-9B65-605C20A0A563}">
      <dsp:nvSpPr>
        <dsp:cNvPr id="0" name=""/>
        <dsp:cNvSpPr/>
      </dsp:nvSpPr>
      <dsp:spPr>
        <a:xfrm>
          <a:off x="3656" y="3507580"/>
          <a:ext cx="1870379" cy="336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700" b="1" kern="1200" dirty="0" smtClean="0"/>
            <a:t>ARTICULACIÓN</a:t>
          </a:r>
          <a:endParaRPr lang="es-CO" sz="1700" b="1" kern="1200" dirty="0"/>
        </a:p>
      </dsp:txBody>
      <dsp:txXfrm>
        <a:off x="3656" y="3507580"/>
        <a:ext cx="1870379" cy="336600"/>
      </dsp:txXfrm>
    </dsp:sp>
    <dsp:sp modelId="{22B9FB7D-296D-44AE-9DD2-23A0D7AF4879}">
      <dsp:nvSpPr>
        <dsp:cNvPr id="0" name=""/>
        <dsp:cNvSpPr/>
      </dsp:nvSpPr>
      <dsp:spPr>
        <a:xfrm>
          <a:off x="1874036" y="2981643"/>
          <a:ext cx="374075" cy="1388475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952F8-B1A9-4540-925B-0EC7C52AAA8E}">
      <dsp:nvSpPr>
        <dsp:cNvPr id="0" name=""/>
        <dsp:cNvSpPr/>
      </dsp:nvSpPr>
      <dsp:spPr>
        <a:xfrm>
          <a:off x="2397742" y="2981643"/>
          <a:ext cx="5087432" cy="1388475"/>
        </a:xfrm>
        <a:prstGeom prst="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Aportar elementos significativos en el proceso de integración de los modelos de aseguramiento de la calidad del Sistema Educativo Colombiano</a:t>
          </a:r>
          <a:endParaRPr lang="es-CO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700" kern="1200" dirty="0" smtClean="0"/>
            <a:t>Fortalecer la transición de la educación media hacia la terciaria, siendo la FPT, parte de esta última</a:t>
          </a:r>
          <a:endParaRPr lang="es-CO" sz="1700" kern="1200" dirty="0"/>
        </a:p>
      </dsp:txBody>
      <dsp:txXfrm>
        <a:off x="2397742" y="2981643"/>
        <a:ext cx="5087432" cy="13884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E83EFF-4AAB-4575-BC31-66CADA8E637C}">
      <dsp:nvSpPr>
        <dsp:cNvPr id="0" name=""/>
        <dsp:cNvSpPr/>
      </dsp:nvSpPr>
      <dsp:spPr>
        <a:xfrm>
          <a:off x="0" y="49713"/>
          <a:ext cx="3528441" cy="359774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smtClean="0"/>
            <a:t>Reconocimiento</a:t>
          </a:r>
          <a:endParaRPr lang="es-CO" sz="1500" kern="1200"/>
        </a:p>
      </dsp:txBody>
      <dsp:txXfrm>
        <a:off x="17563" y="67276"/>
        <a:ext cx="3493315" cy="324648"/>
      </dsp:txXfrm>
    </dsp:sp>
    <dsp:sp modelId="{7E711766-2E94-4937-A343-E5EF51209260}">
      <dsp:nvSpPr>
        <dsp:cNvPr id="0" name=""/>
        <dsp:cNvSpPr/>
      </dsp:nvSpPr>
      <dsp:spPr>
        <a:xfrm>
          <a:off x="0" y="452688"/>
          <a:ext cx="3528441" cy="359774"/>
        </a:xfrm>
        <a:prstGeom prst="roundRect">
          <a:avLst/>
        </a:prstGeom>
        <a:solidFill>
          <a:schemeClr val="accent2">
            <a:hueOff val="520169"/>
            <a:satOff val="-649"/>
            <a:lumOff val="15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smtClean="0"/>
            <a:t>Marco normativo</a:t>
          </a:r>
          <a:endParaRPr lang="es-CO" sz="1500" kern="1200" dirty="0"/>
        </a:p>
      </dsp:txBody>
      <dsp:txXfrm>
        <a:off x="17563" y="470251"/>
        <a:ext cx="3493315" cy="324648"/>
      </dsp:txXfrm>
    </dsp:sp>
    <dsp:sp modelId="{B17F195D-48D4-4A79-A2C3-CB3AAE8E579B}">
      <dsp:nvSpPr>
        <dsp:cNvPr id="0" name=""/>
        <dsp:cNvSpPr/>
      </dsp:nvSpPr>
      <dsp:spPr>
        <a:xfrm>
          <a:off x="0" y="855663"/>
          <a:ext cx="3528441" cy="359774"/>
        </a:xfrm>
        <a:prstGeom prst="roundRect">
          <a:avLst/>
        </a:prstGeom>
        <a:solidFill>
          <a:schemeClr val="accent2">
            <a:hueOff val="1040338"/>
            <a:satOff val="-1298"/>
            <a:lumOff val="30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smtClean="0"/>
            <a:t>Estructura de la oferta</a:t>
          </a:r>
          <a:endParaRPr lang="es-CO" sz="1500" kern="1200"/>
        </a:p>
      </dsp:txBody>
      <dsp:txXfrm>
        <a:off x="17563" y="873226"/>
        <a:ext cx="3493315" cy="324648"/>
      </dsp:txXfrm>
    </dsp:sp>
    <dsp:sp modelId="{76F91CAB-D58C-48E6-BEA0-B9251B7296B0}">
      <dsp:nvSpPr>
        <dsp:cNvPr id="0" name=""/>
        <dsp:cNvSpPr/>
      </dsp:nvSpPr>
      <dsp:spPr>
        <a:xfrm>
          <a:off x="0" y="1258638"/>
          <a:ext cx="3528441" cy="359774"/>
        </a:xfrm>
        <a:prstGeom prst="round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i="1" kern="1200" dirty="0" smtClean="0"/>
            <a:t>Gestión Institucional</a:t>
          </a:r>
          <a:endParaRPr lang="es-CO" sz="1500" b="1" i="1" kern="1200" dirty="0"/>
        </a:p>
      </dsp:txBody>
      <dsp:txXfrm>
        <a:off x="17563" y="1276201"/>
        <a:ext cx="3493315" cy="324648"/>
      </dsp:txXfrm>
    </dsp:sp>
    <dsp:sp modelId="{B2161BA5-52EF-4331-BA33-C3871B3789DC}">
      <dsp:nvSpPr>
        <dsp:cNvPr id="0" name=""/>
        <dsp:cNvSpPr/>
      </dsp:nvSpPr>
      <dsp:spPr>
        <a:xfrm>
          <a:off x="0" y="1661613"/>
          <a:ext cx="3528441" cy="359774"/>
        </a:xfrm>
        <a:prstGeom prst="roundRect">
          <a:avLst/>
        </a:prstGeom>
        <a:solidFill>
          <a:schemeClr val="accent2">
            <a:hueOff val="2080675"/>
            <a:satOff val="-2595"/>
            <a:lumOff val="61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dirty="0" smtClean="0"/>
            <a:t>Acceso y cobertura</a:t>
          </a:r>
          <a:endParaRPr lang="es-CO" sz="1500" kern="1200" dirty="0"/>
        </a:p>
      </dsp:txBody>
      <dsp:txXfrm>
        <a:off x="17563" y="1679176"/>
        <a:ext cx="3493315" cy="324648"/>
      </dsp:txXfrm>
    </dsp:sp>
    <dsp:sp modelId="{BA9C000F-1ADC-470E-958D-CC8137B9E5E9}">
      <dsp:nvSpPr>
        <dsp:cNvPr id="0" name=""/>
        <dsp:cNvSpPr/>
      </dsp:nvSpPr>
      <dsp:spPr>
        <a:xfrm>
          <a:off x="0" y="2064588"/>
          <a:ext cx="3528441" cy="359774"/>
        </a:xfrm>
        <a:prstGeom prst="roundRect">
          <a:avLst/>
        </a:prstGeom>
        <a:solidFill>
          <a:schemeClr val="accent2">
            <a:hueOff val="2600844"/>
            <a:satOff val="-3244"/>
            <a:lumOff val="76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smtClean="0"/>
            <a:t>Pertinencia</a:t>
          </a:r>
          <a:endParaRPr lang="es-CO" sz="1500" kern="1200"/>
        </a:p>
      </dsp:txBody>
      <dsp:txXfrm>
        <a:off x="17563" y="2082151"/>
        <a:ext cx="3493315" cy="324648"/>
      </dsp:txXfrm>
    </dsp:sp>
    <dsp:sp modelId="{4CD327C2-7223-4322-B5AE-4C273B38F580}">
      <dsp:nvSpPr>
        <dsp:cNvPr id="0" name=""/>
        <dsp:cNvSpPr/>
      </dsp:nvSpPr>
      <dsp:spPr>
        <a:xfrm>
          <a:off x="0" y="2467563"/>
          <a:ext cx="3528441" cy="359774"/>
        </a:xfrm>
        <a:prstGeom prst="round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smtClean="0"/>
            <a:t>Relevancia</a:t>
          </a:r>
          <a:endParaRPr lang="es-CO" sz="1500" kern="1200"/>
        </a:p>
      </dsp:txBody>
      <dsp:txXfrm>
        <a:off x="17563" y="2485126"/>
        <a:ext cx="3493315" cy="324648"/>
      </dsp:txXfrm>
    </dsp:sp>
    <dsp:sp modelId="{7A919F40-46A7-4F03-9613-BF7F66B87EFD}">
      <dsp:nvSpPr>
        <dsp:cNvPr id="0" name=""/>
        <dsp:cNvSpPr/>
      </dsp:nvSpPr>
      <dsp:spPr>
        <a:xfrm>
          <a:off x="0" y="2870538"/>
          <a:ext cx="3528441" cy="359774"/>
        </a:xfrm>
        <a:prstGeom prst="roundRect">
          <a:avLst/>
        </a:prstGeom>
        <a:solidFill>
          <a:schemeClr val="accent2">
            <a:hueOff val="3641181"/>
            <a:satOff val="-4541"/>
            <a:lumOff val="106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i="1" kern="1200" dirty="0" smtClean="0"/>
            <a:t>Calidad / Aseguramiento</a:t>
          </a:r>
          <a:endParaRPr lang="es-CO" sz="1500" b="1" i="1" kern="1200" dirty="0"/>
        </a:p>
      </dsp:txBody>
      <dsp:txXfrm>
        <a:off x="17563" y="2888101"/>
        <a:ext cx="3493315" cy="324648"/>
      </dsp:txXfrm>
    </dsp:sp>
    <dsp:sp modelId="{3EB26120-9174-403B-BD39-E30CCB7A08B5}">
      <dsp:nvSpPr>
        <dsp:cNvPr id="0" name=""/>
        <dsp:cNvSpPr/>
      </dsp:nvSpPr>
      <dsp:spPr>
        <a:xfrm>
          <a:off x="0" y="3273513"/>
          <a:ext cx="3528441" cy="359774"/>
        </a:xfrm>
        <a:prstGeom prst="roundRect">
          <a:avLst/>
        </a:prstGeom>
        <a:solidFill>
          <a:schemeClr val="accent2">
            <a:hueOff val="4161350"/>
            <a:satOff val="-5190"/>
            <a:lumOff val="122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i="1" kern="1200" dirty="0" smtClean="0"/>
            <a:t>Articulación / Trabajo en red</a:t>
          </a:r>
          <a:endParaRPr lang="es-CO" sz="1500" b="1" i="1" kern="1200" dirty="0"/>
        </a:p>
      </dsp:txBody>
      <dsp:txXfrm>
        <a:off x="17563" y="3291076"/>
        <a:ext cx="3493315" cy="324648"/>
      </dsp:txXfrm>
    </dsp:sp>
    <dsp:sp modelId="{7419C4BD-B32F-45CF-B5A2-EDD688B37B29}">
      <dsp:nvSpPr>
        <dsp:cNvPr id="0" name=""/>
        <dsp:cNvSpPr/>
      </dsp:nvSpPr>
      <dsp:spPr>
        <a:xfrm>
          <a:off x="0" y="3676488"/>
          <a:ext cx="3528441" cy="359774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i="1" kern="1200" dirty="0" smtClean="0"/>
            <a:t>Incentivos</a:t>
          </a:r>
          <a:r>
            <a:rPr lang="es-CO" sz="1500" kern="1200" dirty="0" smtClean="0"/>
            <a:t> </a:t>
          </a:r>
          <a:endParaRPr lang="es-CO" sz="1500" kern="1200" dirty="0"/>
        </a:p>
      </dsp:txBody>
      <dsp:txXfrm>
        <a:off x="17563" y="3694051"/>
        <a:ext cx="3493315" cy="3246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5BBA38-2254-4A59-9E04-DB39C12D15C4}">
      <dsp:nvSpPr>
        <dsp:cNvPr id="0" name=""/>
        <dsp:cNvSpPr/>
      </dsp:nvSpPr>
      <dsp:spPr>
        <a:xfrm>
          <a:off x="0" y="0"/>
          <a:ext cx="7344816" cy="4552280"/>
        </a:xfrm>
        <a:prstGeom prst="roundRect">
          <a:avLst>
            <a:gd name="adj" fmla="val 85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3533075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CONSOLIDAR SISTEMA NAL DE FORMACION PARA EL TRABAJO</a:t>
          </a:r>
          <a:endParaRPr lang="es-CO" sz="2400" b="1" kern="1200" dirty="0"/>
        </a:p>
      </dsp:txBody>
      <dsp:txXfrm>
        <a:off x="113332" y="113332"/>
        <a:ext cx="7118152" cy="4325616"/>
      </dsp:txXfrm>
    </dsp:sp>
    <dsp:sp modelId="{6D2B9C93-B706-4F21-AEF6-0B821D696614}">
      <dsp:nvSpPr>
        <dsp:cNvPr id="0" name=""/>
        <dsp:cNvSpPr/>
      </dsp:nvSpPr>
      <dsp:spPr>
        <a:xfrm>
          <a:off x="100809" y="1138070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 IMAGEN  NAL E INTERNACIONAL</a:t>
          </a:r>
          <a:endParaRPr lang="es-CO" sz="1200" kern="1200" dirty="0"/>
        </a:p>
      </dsp:txBody>
      <dsp:txXfrm>
        <a:off x="124687" y="1161948"/>
        <a:ext cx="1219588" cy="728665"/>
      </dsp:txXfrm>
    </dsp:sp>
    <dsp:sp modelId="{49691B06-75CD-423F-9244-B90D7475B158}">
      <dsp:nvSpPr>
        <dsp:cNvPr id="0" name=""/>
        <dsp:cNvSpPr/>
      </dsp:nvSpPr>
      <dsp:spPr>
        <a:xfrm>
          <a:off x="100809" y="1876804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585190"/>
              <a:satOff val="-730"/>
              <a:lumOff val="17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INSTITUCIONES DE ALTA CALIDAD</a:t>
          </a:r>
          <a:endParaRPr lang="es-CO" sz="1200" kern="1200" dirty="0"/>
        </a:p>
      </dsp:txBody>
      <dsp:txXfrm>
        <a:off x="124687" y="1900682"/>
        <a:ext cx="1219588" cy="728665"/>
      </dsp:txXfrm>
    </dsp:sp>
    <dsp:sp modelId="{7BD0240E-FE3D-4DDF-AF35-823A576EDD09}">
      <dsp:nvSpPr>
        <dsp:cNvPr id="0" name=""/>
        <dsp:cNvSpPr/>
      </dsp:nvSpPr>
      <dsp:spPr>
        <a:xfrm>
          <a:off x="100809" y="2680069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1170380"/>
              <a:satOff val="-1460"/>
              <a:lumOff val="34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OFERTA POSICIONADA</a:t>
          </a:r>
          <a:endParaRPr lang="es-CO" sz="1200" kern="1200" dirty="0"/>
        </a:p>
      </dsp:txBody>
      <dsp:txXfrm>
        <a:off x="124687" y="2703947"/>
        <a:ext cx="1219588" cy="728665"/>
      </dsp:txXfrm>
    </dsp:sp>
    <dsp:sp modelId="{89D0241D-CD7B-4831-8612-BCDD93D4DE15}">
      <dsp:nvSpPr>
        <dsp:cNvPr id="0" name=""/>
        <dsp:cNvSpPr/>
      </dsp:nvSpPr>
      <dsp:spPr>
        <a:xfrm>
          <a:off x="100809" y="3472161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1755570"/>
              <a:satOff val="-2190"/>
              <a:lumOff val="5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MARCO NORMATIVO </a:t>
          </a:r>
          <a:endParaRPr lang="es-CO" sz="1200" kern="1200" dirty="0"/>
        </a:p>
      </dsp:txBody>
      <dsp:txXfrm>
        <a:off x="124687" y="3496039"/>
        <a:ext cx="1219588" cy="728665"/>
      </dsp:txXfrm>
    </dsp:sp>
    <dsp:sp modelId="{1768406D-E7BE-47AE-9582-D9F65BF85898}">
      <dsp:nvSpPr>
        <dsp:cNvPr id="0" name=""/>
        <dsp:cNvSpPr/>
      </dsp:nvSpPr>
      <dsp:spPr>
        <a:xfrm>
          <a:off x="1512167" y="1342506"/>
          <a:ext cx="5605824" cy="2777723"/>
        </a:xfrm>
        <a:prstGeom prst="roundRect">
          <a:avLst>
            <a:gd name="adj" fmla="val 10500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2023488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MEJORAR CALIDAD Y 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PERTINENCIA DE LA ETDH</a:t>
          </a:r>
          <a:endParaRPr lang="es-CO" sz="2400" b="1" kern="1200" dirty="0"/>
        </a:p>
      </dsp:txBody>
      <dsp:txXfrm>
        <a:off x="1597592" y="1427931"/>
        <a:ext cx="5434974" cy="2606873"/>
      </dsp:txXfrm>
    </dsp:sp>
    <dsp:sp modelId="{5F1618FE-93FA-4360-9F26-DC8DD9CD7210}">
      <dsp:nvSpPr>
        <dsp:cNvPr id="0" name=""/>
        <dsp:cNvSpPr/>
      </dsp:nvSpPr>
      <dsp:spPr>
        <a:xfrm>
          <a:off x="1611269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CALIDAD PROGRAMAS E INSTITUCIONES</a:t>
          </a:r>
          <a:endParaRPr lang="es-CO" sz="1100" kern="1200" dirty="0"/>
        </a:p>
      </dsp:txBody>
      <dsp:txXfrm>
        <a:off x="1643994" y="2604763"/>
        <a:ext cx="998647" cy="1368518"/>
      </dsp:txXfrm>
    </dsp:sp>
    <dsp:sp modelId="{4D5A258B-30CD-4733-9875-8FD88A308567}">
      <dsp:nvSpPr>
        <dsp:cNvPr id="0" name=""/>
        <dsp:cNvSpPr/>
      </dsp:nvSpPr>
      <dsp:spPr>
        <a:xfrm>
          <a:off x="2697045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2925949"/>
              <a:satOff val="-3649"/>
              <a:lumOff val="8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GESTION  INSTITUCIONAL</a:t>
          </a:r>
          <a:endParaRPr lang="es-CO" sz="1100" kern="1200" dirty="0"/>
        </a:p>
      </dsp:txBody>
      <dsp:txXfrm>
        <a:off x="2729770" y="2604763"/>
        <a:ext cx="998647" cy="1368518"/>
      </dsp:txXfrm>
    </dsp:sp>
    <dsp:sp modelId="{46440A11-D612-4E4A-9441-8C8BB3AE3E7A}">
      <dsp:nvSpPr>
        <dsp:cNvPr id="0" name=""/>
        <dsp:cNvSpPr/>
      </dsp:nvSpPr>
      <dsp:spPr>
        <a:xfrm>
          <a:off x="3782822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3511139"/>
              <a:satOff val="-4379"/>
              <a:lumOff val="10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ARTICULACIÓN</a:t>
          </a:r>
          <a:endParaRPr lang="es-CO" sz="1100" kern="1200" dirty="0"/>
        </a:p>
      </dsp:txBody>
      <dsp:txXfrm>
        <a:off x="3815547" y="2604763"/>
        <a:ext cx="998647" cy="1368518"/>
      </dsp:txXfrm>
    </dsp:sp>
    <dsp:sp modelId="{38B402E7-FEC9-4991-B47D-2B083A3034F9}">
      <dsp:nvSpPr>
        <dsp:cNvPr id="0" name=""/>
        <dsp:cNvSpPr/>
      </dsp:nvSpPr>
      <dsp:spPr>
        <a:xfrm>
          <a:off x="4868598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4096329"/>
              <a:satOff val="-5109"/>
              <a:lumOff val="12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ALIANZAS Y TRABJO EN RED</a:t>
          </a:r>
          <a:endParaRPr lang="es-CO" sz="1100" kern="1200" dirty="0"/>
        </a:p>
      </dsp:txBody>
      <dsp:txXfrm>
        <a:off x="4901323" y="2604763"/>
        <a:ext cx="998647" cy="1368518"/>
      </dsp:txXfrm>
    </dsp:sp>
    <dsp:sp modelId="{7B685EA6-707F-4298-B0BD-82CFADECF61D}">
      <dsp:nvSpPr>
        <dsp:cNvPr id="0" name=""/>
        <dsp:cNvSpPr/>
      </dsp:nvSpPr>
      <dsp:spPr>
        <a:xfrm>
          <a:off x="5954375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PERTINENCIA E INNOVACIÓN</a:t>
          </a:r>
          <a:endParaRPr lang="es-CO" sz="1100" kern="1200" dirty="0"/>
        </a:p>
      </dsp:txBody>
      <dsp:txXfrm>
        <a:off x="5987100" y="2604763"/>
        <a:ext cx="998647" cy="13685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BA77A-8CC4-4500-B01A-7AEBE3488E5B}">
      <dsp:nvSpPr>
        <dsp:cNvPr id="0" name=""/>
        <dsp:cNvSpPr/>
      </dsp:nvSpPr>
      <dsp:spPr>
        <a:xfrm>
          <a:off x="0" y="78668"/>
          <a:ext cx="7200800" cy="450049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EE7D7DC-EB20-4648-A417-503A5B97A4AE}">
      <dsp:nvSpPr>
        <dsp:cNvPr id="0" name=""/>
        <dsp:cNvSpPr/>
      </dsp:nvSpPr>
      <dsp:spPr>
        <a:xfrm>
          <a:off x="709278" y="3508589"/>
          <a:ext cx="165618" cy="165618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A040EAF-6984-48B3-A4A3-49658BBA28F9}">
      <dsp:nvSpPr>
        <dsp:cNvPr id="0" name=""/>
        <dsp:cNvSpPr/>
      </dsp:nvSpPr>
      <dsp:spPr>
        <a:xfrm>
          <a:off x="0" y="162018"/>
          <a:ext cx="792088" cy="34293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7758" bIns="0" numCol="1" spcCol="1270" anchor="b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es-CO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</a:t>
          </a:r>
          <a:r>
            <a:rPr lang="es-MX" sz="1200" b="1" i="0" kern="120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eferentes y  criterios para evaluar las condiciones de calidad </a:t>
          </a:r>
          <a:endParaRPr lang="es-CO" sz="12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62018"/>
        <a:ext cx="792088" cy="3429381"/>
      </dsp:txXfrm>
    </dsp:sp>
    <dsp:sp modelId="{3B1539F1-9BCA-46C2-AB17-8D3CF35159B5}">
      <dsp:nvSpPr>
        <dsp:cNvPr id="0" name=""/>
        <dsp:cNvSpPr/>
      </dsp:nvSpPr>
      <dsp:spPr>
        <a:xfrm>
          <a:off x="1605778" y="2647194"/>
          <a:ext cx="259228" cy="259228"/>
        </a:xfrm>
        <a:prstGeom prst="ellipse">
          <a:avLst/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170380"/>
                <a:satOff val="-1460"/>
                <a:lumOff val="34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0DCE49C-AF8D-40B0-85D3-129E54A78282}">
      <dsp:nvSpPr>
        <dsp:cNvPr id="0" name=""/>
        <dsp:cNvSpPr/>
      </dsp:nvSpPr>
      <dsp:spPr>
        <a:xfrm>
          <a:off x="792088" y="162018"/>
          <a:ext cx="943304" cy="26147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37360" bIns="0" numCol="1" spcCol="1270" anchor="b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b="1" i="0" kern="120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Modelo de Gestión  en ET  para el nuevo Modelo  de CALIDA de la ETDH</a:t>
          </a:r>
          <a:r>
            <a:rPr lang="es-ES" sz="1200" b="1" i="0" kern="1200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rPr>
            <a:t> </a:t>
          </a:r>
          <a:endParaRPr lang="es-CO" sz="1200" b="1" i="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792088" y="162018"/>
        <a:ext cx="943304" cy="2614790"/>
      </dsp:txXfrm>
    </dsp:sp>
    <dsp:sp modelId="{9E918572-CCD7-4214-9EE4-84149A104B21}">
      <dsp:nvSpPr>
        <dsp:cNvPr id="0" name=""/>
        <dsp:cNvSpPr/>
      </dsp:nvSpPr>
      <dsp:spPr>
        <a:xfrm>
          <a:off x="2757906" y="1960417"/>
          <a:ext cx="345638" cy="345638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2340759"/>
                <a:satOff val="-2919"/>
                <a:lumOff val="686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063595D-3806-4844-9889-1FA477F4B0ED}">
      <dsp:nvSpPr>
        <dsp:cNvPr id="0" name=""/>
        <dsp:cNvSpPr/>
      </dsp:nvSpPr>
      <dsp:spPr>
        <a:xfrm>
          <a:off x="1735392" y="162018"/>
          <a:ext cx="1195332" cy="19712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83147" bIns="0" numCol="1" spcCol="1270" anchor="b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b="1" i="0" kern="1200" dirty="0" smtClean="0">
              <a:latin typeface="Arial" pitchFamily="34" charset="0"/>
              <a:cs typeface="Arial" pitchFamily="34" charset="0"/>
            </a:rPr>
            <a:t>Modelo integrado de sistemas de aseguramiento de la calidad</a:t>
          </a:r>
          <a:endParaRPr lang="es-CO" sz="1200" b="1" i="0" kern="1200" dirty="0">
            <a:latin typeface="Arial" pitchFamily="34" charset="0"/>
            <a:cs typeface="Arial" pitchFamily="34" charset="0"/>
          </a:endParaRPr>
        </a:p>
      </dsp:txBody>
      <dsp:txXfrm>
        <a:off x="1735392" y="162018"/>
        <a:ext cx="1195332" cy="1971219"/>
      </dsp:txXfrm>
    </dsp:sp>
    <dsp:sp modelId="{A0BD20C1-3523-48BA-97C2-5B1C50F670EF}">
      <dsp:nvSpPr>
        <dsp:cNvPr id="0" name=""/>
        <dsp:cNvSpPr/>
      </dsp:nvSpPr>
      <dsp:spPr>
        <a:xfrm>
          <a:off x="4097255" y="1423958"/>
          <a:ext cx="446449" cy="446449"/>
        </a:xfrm>
        <a:prstGeom prst="ellipse">
          <a:avLst/>
        </a:prstGeom>
        <a:gradFill rotWithShape="0">
          <a:gsLst>
            <a:gs pos="0">
              <a:schemeClr val="accent2">
                <a:hueOff val="3511139"/>
                <a:satOff val="-4379"/>
                <a:lumOff val="103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511139"/>
                <a:satOff val="-4379"/>
                <a:lumOff val="103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511139"/>
                <a:satOff val="-4379"/>
                <a:lumOff val="103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ED98381-C076-444D-9605-9ED14344C266}">
      <dsp:nvSpPr>
        <dsp:cNvPr id="0" name=""/>
        <dsp:cNvSpPr/>
      </dsp:nvSpPr>
      <dsp:spPr>
        <a:xfrm>
          <a:off x="2930725" y="162018"/>
          <a:ext cx="1389754" cy="14851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36564" bIns="0" numCol="1" spcCol="1270" anchor="b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i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 MT"/>
              <a:ea typeface="Arial Unicode MS" pitchFamily="34" charset="-128"/>
              <a:cs typeface="Arial Unicode MS" pitchFamily="34" charset="-128"/>
            </a:rPr>
            <a:t>Sistema de Información para el aseguramiento de calidad de SACET</a:t>
          </a:r>
          <a:endParaRPr lang="es-CO" sz="1200" b="1" i="0" kern="1200" dirty="0"/>
        </a:p>
      </dsp:txBody>
      <dsp:txXfrm>
        <a:off x="2930725" y="162018"/>
        <a:ext cx="1389754" cy="1485165"/>
      </dsp:txXfrm>
    </dsp:sp>
    <dsp:sp modelId="{63C28202-4A26-466A-B8B7-A89374D6B904}">
      <dsp:nvSpPr>
        <dsp:cNvPr id="0" name=""/>
        <dsp:cNvSpPr/>
      </dsp:nvSpPr>
      <dsp:spPr>
        <a:xfrm>
          <a:off x="5476208" y="1065718"/>
          <a:ext cx="568863" cy="568863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6BF9D7D-3F38-4794-8093-8858654CF668}">
      <dsp:nvSpPr>
        <dsp:cNvPr id="0" name=""/>
        <dsp:cNvSpPr/>
      </dsp:nvSpPr>
      <dsp:spPr>
        <a:xfrm>
          <a:off x="4320480" y="360043"/>
          <a:ext cx="1440160" cy="792080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>
          <a:solidFill>
            <a:schemeClr val="accent1"/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1429" bIns="0" numCol="1" spcCol="1270" anchor="b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300" b="1" kern="1200" dirty="0" smtClean="0"/>
            <a:t>Implementación Modelo de Aseguramiento de Calidad</a:t>
          </a:r>
          <a:endParaRPr lang="es-CO" sz="1300" b="1" kern="1200" dirty="0"/>
        </a:p>
      </dsp:txBody>
      <dsp:txXfrm>
        <a:off x="4320480" y="360043"/>
        <a:ext cx="1440160" cy="7920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37217A-60E8-4486-91D3-00ABFF0C9208}">
      <dsp:nvSpPr>
        <dsp:cNvPr id="0" name=""/>
        <dsp:cNvSpPr/>
      </dsp:nvSpPr>
      <dsp:spPr>
        <a:xfrm>
          <a:off x="3351" y="232500"/>
          <a:ext cx="1714430" cy="768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Ubicación de la oferta</a:t>
          </a:r>
          <a:endParaRPr lang="es-CO" sz="2300" kern="1200" dirty="0"/>
        </a:p>
      </dsp:txBody>
      <dsp:txXfrm>
        <a:off x="3351" y="232500"/>
        <a:ext cx="1714430" cy="768487"/>
      </dsp:txXfrm>
    </dsp:sp>
    <dsp:sp modelId="{2A249A0F-2B19-4081-B596-AFEEFB00AEC6}">
      <dsp:nvSpPr>
        <dsp:cNvPr id="0" name=""/>
        <dsp:cNvSpPr/>
      </dsp:nvSpPr>
      <dsp:spPr>
        <a:xfrm>
          <a:off x="1717781" y="172462"/>
          <a:ext cx="342886" cy="888563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C88672-20D1-4CF1-8191-18C470C93209}">
      <dsp:nvSpPr>
        <dsp:cNvPr id="0" name=""/>
        <dsp:cNvSpPr/>
      </dsp:nvSpPr>
      <dsp:spPr>
        <a:xfrm>
          <a:off x="2197822" y="172462"/>
          <a:ext cx="4663249" cy="88856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 smtClean="0"/>
            <a:t>Alternativo a la educación superior. </a:t>
          </a:r>
          <a:endParaRPr lang="es-CO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Educación a lo largo de la vida.</a:t>
          </a:r>
          <a:endParaRPr lang="es-CO" sz="2300" kern="1200" dirty="0"/>
        </a:p>
      </dsp:txBody>
      <dsp:txXfrm>
        <a:off x="2197822" y="172462"/>
        <a:ext cx="4663249" cy="888563"/>
      </dsp:txXfrm>
    </dsp:sp>
    <dsp:sp modelId="{48BF8545-62FB-48D0-BF6C-B1E5382DA192}">
      <dsp:nvSpPr>
        <dsp:cNvPr id="0" name=""/>
        <dsp:cNvSpPr/>
      </dsp:nvSpPr>
      <dsp:spPr>
        <a:xfrm>
          <a:off x="3351" y="1177624"/>
          <a:ext cx="1714430" cy="10815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Modelos de formación</a:t>
          </a:r>
          <a:endParaRPr lang="es-CO" sz="2300" kern="1200" dirty="0"/>
        </a:p>
      </dsp:txBody>
      <dsp:txXfrm>
        <a:off x="3351" y="1177624"/>
        <a:ext cx="1714430" cy="1081575"/>
      </dsp:txXfrm>
    </dsp:sp>
    <dsp:sp modelId="{F6011C12-C47D-48F7-AA89-AACEE724CC0F}">
      <dsp:nvSpPr>
        <dsp:cNvPr id="0" name=""/>
        <dsp:cNvSpPr/>
      </dsp:nvSpPr>
      <dsp:spPr>
        <a:xfrm>
          <a:off x="1717781" y="1143825"/>
          <a:ext cx="342886" cy="1149173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7EAD1-296E-40CD-93AE-D6CD3F8417E2}">
      <dsp:nvSpPr>
        <dsp:cNvPr id="0" name=""/>
        <dsp:cNvSpPr/>
      </dsp:nvSpPr>
      <dsp:spPr>
        <a:xfrm>
          <a:off x="2197822" y="1143825"/>
          <a:ext cx="4663249" cy="1149173"/>
        </a:xfrm>
        <a:prstGeom prst="rect">
          <a:avLst/>
        </a:prstGeom>
        <a:gradFill rotWithShape="0">
          <a:gsLst>
            <a:gs pos="0">
              <a:schemeClr val="accent2">
                <a:hueOff val="1560506"/>
                <a:satOff val="-1946"/>
                <a:lumOff val="458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560506"/>
                <a:satOff val="-1946"/>
                <a:lumOff val="458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560506"/>
                <a:satOff val="-1946"/>
                <a:lumOff val="458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Competencias vocacionales para la vida y para el crecimiento económico.</a:t>
          </a:r>
          <a:endParaRPr lang="es-CO" sz="2300" kern="1200" dirty="0"/>
        </a:p>
      </dsp:txBody>
      <dsp:txXfrm>
        <a:off x="2197822" y="1143825"/>
        <a:ext cx="4663249" cy="1149173"/>
      </dsp:txXfrm>
    </dsp:sp>
    <dsp:sp modelId="{3A7A7695-5B13-450E-98E6-6395BDCAAF31}">
      <dsp:nvSpPr>
        <dsp:cNvPr id="0" name=""/>
        <dsp:cNvSpPr/>
      </dsp:nvSpPr>
      <dsp:spPr>
        <a:xfrm>
          <a:off x="3351" y="2375799"/>
          <a:ext cx="1714430" cy="768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Población objetivo</a:t>
          </a:r>
          <a:endParaRPr lang="es-CO" sz="2300" kern="1200" dirty="0"/>
        </a:p>
      </dsp:txBody>
      <dsp:txXfrm>
        <a:off x="3351" y="2375799"/>
        <a:ext cx="1714430" cy="768487"/>
      </dsp:txXfrm>
    </dsp:sp>
    <dsp:sp modelId="{2F54AE2C-DE06-438F-A8AA-DDE061E301AA}">
      <dsp:nvSpPr>
        <dsp:cNvPr id="0" name=""/>
        <dsp:cNvSpPr/>
      </dsp:nvSpPr>
      <dsp:spPr>
        <a:xfrm>
          <a:off x="1717781" y="2375799"/>
          <a:ext cx="342886" cy="768487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5D75E-3B36-4A58-8BE9-931EF235A6E1}">
      <dsp:nvSpPr>
        <dsp:cNvPr id="0" name=""/>
        <dsp:cNvSpPr/>
      </dsp:nvSpPr>
      <dsp:spPr>
        <a:xfrm>
          <a:off x="2197822" y="2375799"/>
          <a:ext cx="4663249" cy="768487"/>
        </a:xfrm>
        <a:prstGeom prst="rect">
          <a:avLst/>
        </a:prstGeom>
        <a:gradFill rotWithShape="0">
          <a:gsLst>
            <a:gs pos="0">
              <a:schemeClr val="accent2">
                <a:hueOff val="3121013"/>
                <a:satOff val="-3893"/>
                <a:lumOff val="915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121013"/>
                <a:satOff val="-3893"/>
                <a:lumOff val="915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121013"/>
                <a:satOff val="-3893"/>
                <a:lumOff val="915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Adolescentes y adultos.</a:t>
          </a:r>
          <a:endParaRPr lang="es-CO" sz="2300" kern="1200" dirty="0"/>
        </a:p>
      </dsp:txBody>
      <dsp:txXfrm>
        <a:off x="2197822" y="2375799"/>
        <a:ext cx="4663249" cy="768487"/>
      </dsp:txXfrm>
    </dsp:sp>
    <dsp:sp modelId="{3265399B-BC14-49E3-9B65-605C20A0A563}">
      <dsp:nvSpPr>
        <dsp:cNvPr id="0" name=""/>
        <dsp:cNvSpPr/>
      </dsp:nvSpPr>
      <dsp:spPr>
        <a:xfrm>
          <a:off x="3351" y="3419208"/>
          <a:ext cx="1714430" cy="768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Entidad encargada</a:t>
          </a:r>
          <a:endParaRPr lang="es-CO" sz="2300" kern="1200" dirty="0"/>
        </a:p>
      </dsp:txBody>
      <dsp:txXfrm>
        <a:off x="3351" y="3419208"/>
        <a:ext cx="1714430" cy="768487"/>
      </dsp:txXfrm>
    </dsp:sp>
    <dsp:sp modelId="{22B9FB7D-296D-44AE-9DD2-23A0D7AF4879}">
      <dsp:nvSpPr>
        <dsp:cNvPr id="0" name=""/>
        <dsp:cNvSpPr/>
      </dsp:nvSpPr>
      <dsp:spPr>
        <a:xfrm>
          <a:off x="1717781" y="3227086"/>
          <a:ext cx="342886" cy="1152731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952F8-B1A9-4540-925B-0EC7C52AAA8E}">
      <dsp:nvSpPr>
        <dsp:cNvPr id="0" name=""/>
        <dsp:cNvSpPr/>
      </dsp:nvSpPr>
      <dsp:spPr>
        <a:xfrm>
          <a:off x="2197822" y="3227086"/>
          <a:ext cx="4663249" cy="1152731"/>
        </a:xfrm>
        <a:prstGeom prst="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Ministerio de Educación Nacional u organismos especializados en competencias.</a:t>
          </a:r>
          <a:endParaRPr lang="es-CO" sz="2300" kern="1200" dirty="0"/>
        </a:p>
      </dsp:txBody>
      <dsp:txXfrm>
        <a:off x="2197822" y="3227086"/>
        <a:ext cx="4663249" cy="11527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37217A-60E8-4486-91D3-00ABFF0C9208}">
      <dsp:nvSpPr>
        <dsp:cNvPr id="0" name=""/>
        <dsp:cNvSpPr/>
      </dsp:nvSpPr>
      <dsp:spPr>
        <a:xfrm>
          <a:off x="3351" y="333247"/>
          <a:ext cx="1714430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Enfoque de aseguramiento</a:t>
          </a:r>
          <a:endParaRPr lang="es-CO" sz="1800" kern="1200" dirty="0"/>
        </a:p>
      </dsp:txBody>
      <dsp:txXfrm>
        <a:off x="3351" y="333247"/>
        <a:ext cx="1714430" cy="601425"/>
      </dsp:txXfrm>
    </dsp:sp>
    <dsp:sp modelId="{2A249A0F-2B19-4081-B596-AFEEFB00AEC6}">
      <dsp:nvSpPr>
        <dsp:cNvPr id="0" name=""/>
        <dsp:cNvSpPr/>
      </dsp:nvSpPr>
      <dsp:spPr>
        <a:xfrm>
          <a:off x="1717781" y="286261"/>
          <a:ext cx="342886" cy="695397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C88672-20D1-4CF1-8191-18C470C93209}">
      <dsp:nvSpPr>
        <dsp:cNvPr id="0" name=""/>
        <dsp:cNvSpPr/>
      </dsp:nvSpPr>
      <dsp:spPr>
        <a:xfrm>
          <a:off x="2197822" y="286261"/>
          <a:ext cx="4663249" cy="69539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Nivel de licenciamiento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Nivel de acreditación</a:t>
          </a:r>
          <a:endParaRPr lang="es-CO" sz="1800" kern="1200" dirty="0"/>
        </a:p>
      </dsp:txBody>
      <dsp:txXfrm>
        <a:off x="2197822" y="286261"/>
        <a:ext cx="4663249" cy="695397"/>
      </dsp:txXfrm>
    </dsp:sp>
    <dsp:sp modelId="{48BF8545-62FB-48D0-BF6C-B1E5382DA192}">
      <dsp:nvSpPr>
        <dsp:cNvPr id="0" name=""/>
        <dsp:cNvSpPr/>
      </dsp:nvSpPr>
      <dsp:spPr>
        <a:xfrm>
          <a:off x="3351" y="1074650"/>
          <a:ext cx="1714430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Construcción de referentes</a:t>
          </a:r>
          <a:endParaRPr lang="es-CO" sz="1800" kern="1200" dirty="0"/>
        </a:p>
      </dsp:txBody>
      <dsp:txXfrm>
        <a:off x="3351" y="1074650"/>
        <a:ext cx="1714430" cy="601425"/>
      </dsp:txXfrm>
    </dsp:sp>
    <dsp:sp modelId="{F6011C12-C47D-48F7-AA89-AACEE724CC0F}">
      <dsp:nvSpPr>
        <dsp:cNvPr id="0" name=""/>
        <dsp:cNvSpPr/>
      </dsp:nvSpPr>
      <dsp:spPr>
        <a:xfrm>
          <a:off x="1717781" y="1046458"/>
          <a:ext cx="342886" cy="657808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7EAD1-296E-40CD-93AE-D6CD3F8417E2}">
      <dsp:nvSpPr>
        <dsp:cNvPr id="0" name=""/>
        <dsp:cNvSpPr/>
      </dsp:nvSpPr>
      <dsp:spPr>
        <a:xfrm>
          <a:off x="2197822" y="1046458"/>
          <a:ext cx="4663249" cy="657808"/>
        </a:xfrm>
        <a:prstGeom prst="rect">
          <a:avLst/>
        </a:prstGeom>
        <a:gradFill rotWithShape="0">
          <a:gsLst>
            <a:gs pos="0">
              <a:schemeClr val="accent2">
                <a:hueOff val="1560506"/>
                <a:satOff val="-1946"/>
                <a:lumOff val="458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560506"/>
                <a:satOff val="-1946"/>
                <a:lumOff val="458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560506"/>
                <a:satOff val="-1946"/>
                <a:lumOff val="458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s-MX" sz="1800" u="none" strike="noStrike" kern="1200" cap="none" normalizeH="0" baseline="0" smtClean="0">
              <a:ln/>
              <a:effectLst/>
            </a:rPr>
            <a:t>Mesas sectoriales con sociedad civil, sector privado y academia</a:t>
          </a:r>
          <a:r>
            <a:rPr lang="es-CO" sz="1800" kern="1200" smtClean="0"/>
            <a:t>.</a:t>
          </a:r>
          <a:endParaRPr lang="es-CO" sz="1800" kern="1200" dirty="0"/>
        </a:p>
      </dsp:txBody>
      <dsp:txXfrm>
        <a:off x="2197822" y="1046458"/>
        <a:ext cx="4663249" cy="657808"/>
      </dsp:txXfrm>
    </dsp:sp>
    <dsp:sp modelId="{3A7A7695-5B13-450E-98E6-6395BDCAAF31}">
      <dsp:nvSpPr>
        <dsp:cNvPr id="0" name=""/>
        <dsp:cNvSpPr/>
      </dsp:nvSpPr>
      <dsp:spPr>
        <a:xfrm>
          <a:off x="3351" y="2073260"/>
          <a:ext cx="1714430" cy="8464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Referentes para Instituciones</a:t>
          </a:r>
          <a:endParaRPr lang="es-CO" sz="1800" kern="1200" dirty="0"/>
        </a:p>
      </dsp:txBody>
      <dsp:txXfrm>
        <a:off x="3351" y="2073260"/>
        <a:ext cx="1714430" cy="846450"/>
      </dsp:txXfrm>
    </dsp:sp>
    <dsp:sp modelId="{2F54AE2C-DE06-438F-A8AA-DDE061E301AA}">
      <dsp:nvSpPr>
        <dsp:cNvPr id="0" name=""/>
        <dsp:cNvSpPr/>
      </dsp:nvSpPr>
      <dsp:spPr>
        <a:xfrm>
          <a:off x="1717781" y="1769067"/>
          <a:ext cx="342886" cy="1454835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5D75E-3B36-4A58-8BE9-931EF235A6E1}">
      <dsp:nvSpPr>
        <dsp:cNvPr id="0" name=""/>
        <dsp:cNvSpPr/>
      </dsp:nvSpPr>
      <dsp:spPr>
        <a:xfrm>
          <a:off x="2197822" y="1769067"/>
          <a:ext cx="4663249" cy="1454835"/>
        </a:xfrm>
        <a:prstGeom prst="rect">
          <a:avLst/>
        </a:prstGeom>
        <a:gradFill rotWithShape="0">
          <a:gsLst>
            <a:gs pos="0">
              <a:schemeClr val="accent2">
                <a:hueOff val="3121013"/>
                <a:satOff val="-3893"/>
                <a:lumOff val="915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121013"/>
                <a:satOff val="-3893"/>
                <a:lumOff val="915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121013"/>
                <a:satOff val="-3893"/>
                <a:lumOff val="915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Muy variadas.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Incluyen: Infraestructura, personal, egresados, equipamiento, reglamentos, identidad, constitución, autonomía, recursos financieros y administrativos.</a:t>
          </a:r>
          <a:endParaRPr lang="es-CO" sz="1800" kern="1200" dirty="0"/>
        </a:p>
      </dsp:txBody>
      <dsp:txXfrm>
        <a:off x="2197822" y="1769067"/>
        <a:ext cx="4663249" cy="1454835"/>
      </dsp:txXfrm>
    </dsp:sp>
    <dsp:sp modelId="{3265399B-BC14-49E3-9B65-605C20A0A563}">
      <dsp:nvSpPr>
        <dsp:cNvPr id="0" name=""/>
        <dsp:cNvSpPr/>
      </dsp:nvSpPr>
      <dsp:spPr>
        <a:xfrm>
          <a:off x="3351" y="3476648"/>
          <a:ext cx="1714430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Verificación de condiciones</a:t>
          </a:r>
          <a:endParaRPr lang="es-CO" sz="1800" kern="1200" dirty="0"/>
        </a:p>
      </dsp:txBody>
      <dsp:txXfrm>
        <a:off x="3351" y="3476648"/>
        <a:ext cx="1714430" cy="601425"/>
      </dsp:txXfrm>
    </dsp:sp>
    <dsp:sp modelId="{22B9FB7D-296D-44AE-9DD2-23A0D7AF4879}">
      <dsp:nvSpPr>
        <dsp:cNvPr id="0" name=""/>
        <dsp:cNvSpPr/>
      </dsp:nvSpPr>
      <dsp:spPr>
        <a:xfrm>
          <a:off x="1717781" y="3288703"/>
          <a:ext cx="342886" cy="977315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952F8-B1A9-4540-925B-0EC7C52AAA8E}">
      <dsp:nvSpPr>
        <dsp:cNvPr id="0" name=""/>
        <dsp:cNvSpPr/>
      </dsp:nvSpPr>
      <dsp:spPr>
        <a:xfrm>
          <a:off x="2197822" y="3288703"/>
          <a:ext cx="4663249" cy="977315"/>
        </a:xfrm>
        <a:prstGeom prst="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Autoevaluación.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Auditoría de Gestión.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Evaluación “in situ”.</a:t>
          </a:r>
          <a:endParaRPr lang="es-CO" sz="1800" kern="1200" dirty="0"/>
        </a:p>
      </dsp:txBody>
      <dsp:txXfrm>
        <a:off x="2197822" y="3288703"/>
        <a:ext cx="4663249" cy="97731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CCEE37-84CC-4FFB-BDD2-2EBFE568AA78}">
      <dsp:nvSpPr>
        <dsp:cNvPr id="0" name=""/>
        <dsp:cNvSpPr/>
      </dsp:nvSpPr>
      <dsp:spPr>
        <a:xfrm rot="10800000">
          <a:off x="1040873" y="1973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dirty="0" smtClean="0">
              <a:effectLst/>
            </a:rPr>
            <a:t>Acceso a los estudiantes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59531" y="1973"/>
        <a:ext cx="3376970" cy="474632"/>
      </dsp:txXfrm>
    </dsp:sp>
    <dsp:sp modelId="{A06848A9-0673-48CE-9E8A-C7D28F82CB08}">
      <dsp:nvSpPr>
        <dsp:cNvPr id="0" name=""/>
        <dsp:cNvSpPr/>
      </dsp:nvSpPr>
      <dsp:spPr>
        <a:xfrm>
          <a:off x="761819" y="1973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193312-33B7-41DB-8266-60D47758DE09}">
      <dsp:nvSpPr>
        <dsp:cNvPr id="0" name=""/>
        <dsp:cNvSpPr/>
      </dsp:nvSpPr>
      <dsp:spPr>
        <a:xfrm rot="10800000">
          <a:off x="999135" y="618287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smtClean="0">
              <a:effectLst/>
            </a:rPr>
            <a:t>Pertinencia</a:t>
          </a:r>
          <a:endParaRPr lang="es-ES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17793" y="618287"/>
        <a:ext cx="3376970" cy="474632"/>
      </dsp:txXfrm>
    </dsp:sp>
    <dsp:sp modelId="{F51A1092-1BF9-4BE6-9117-17E5E6F22E72}">
      <dsp:nvSpPr>
        <dsp:cNvPr id="0" name=""/>
        <dsp:cNvSpPr/>
      </dsp:nvSpPr>
      <dsp:spPr>
        <a:xfrm>
          <a:off x="761819" y="618287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18C1D2-6ADA-4641-9B24-CC4618FC4740}">
      <dsp:nvSpPr>
        <dsp:cNvPr id="0" name=""/>
        <dsp:cNvSpPr/>
      </dsp:nvSpPr>
      <dsp:spPr>
        <a:xfrm rot="10800000">
          <a:off x="999135" y="1234601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smtClean="0">
              <a:effectLst/>
            </a:rPr>
            <a:t>Calidad</a:t>
          </a:r>
          <a:endParaRPr lang="es-ES" sz="2000" b="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17793" y="1234601"/>
        <a:ext cx="3376970" cy="474632"/>
      </dsp:txXfrm>
    </dsp:sp>
    <dsp:sp modelId="{D7E96CD7-291D-4F79-9F19-3452B2318A55}">
      <dsp:nvSpPr>
        <dsp:cNvPr id="0" name=""/>
        <dsp:cNvSpPr/>
      </dsp:nvSpPr>
      <dsp:spPr>
        <a:xfrm>
          <a:off x="761819" y="1234601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E909C7-1A72-49A1-8605-F721FA41BE03}">
      <dsp:nvSpPr>
        <dsp:cNvPr id="0" name=""/>
        <dsp:cNvSpPr/>
      </dsp:nvSpPr>
      <dsp:spPr>
        <a:xfrm rot="10800000">
          <a:off x="999135" y="1850915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Atención a los estudiantes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17793" y="1850915"/>
        <a:ext cx="3376970" cy="474632"/>
      </dsp:txXfrm>
    </dsp:sp>
    <dsp:sp modelId="{6288DD77-D563-41B6-9A71-BDEE5BB6B562}">
      <dsp:nvSpPr>
        <dsp:cNvPr id="0" name=""/>
        <dsp:cNvSpPr/>
      </dsp:nvSpPr>
      <dsp:spPr>
        <a:xfrm>
          <a:off x="761819" y="1850915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613E25-42F8-4BAE-B401-6C6AF07BFF2C}">
      <dsp:nvSpPr>
        <dsp:cNvPr id="0" name=""/>
        <dsp:cNvSpPr/>
      </dsp:nvSpPr>
      <dsp:spPr>
        <a:xfrm rot="10800000">
          <a:off x="999135" y="2467229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Gestión de infraestructura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17793" y="2467229"/>
        <a:ext cx="3376970" cy="474632"/>
      </dsp:txXfrm>
    </dsp:sp>
    <dsp:sp modelId="{5D277EAD-0FD1-43D3-AF2B-35C5DF3751DA}">
      <dsp:nvSpPr>
        <dsp:cNvPr id="0" name=""/>
        <dsp:cNvSpPr/>
      </dsp:nvSpPr>
      <dsp:spPr>
        <a:xfrm>
          <a:off x="761819" y="2467229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6CCEF8-82D4-4B90-A6C9-5BCD7A6F2846}">
      <dsp:nvSpPr>
        <dsp:cNvPr id="0" name=""/>
        <dsp:cNvSpPr/>
      </dsp:nvSpPr>
      <dsp:spPr>
        <a:xfrm rot="10800000">
          <a:off x="999135" y="3083543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Gestión Financiera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17793" y="3083543"/>
        <a:ext cx="3376970" cy="474632"/>
      </dsp:txXfrm>
    </dsp:sp>
    <dsp:sp modelId="{B2854D78-6E94-43C3-A6BD-7F859875FB21}">
      <dsp:nvSpPr>
        <dsp:cNvPr id="0" name=""/>
        <dsp:cNvSpPr/>
      </dsp:nvSpPr>
      <dsp:spPr>
        <a:xfrm>
          <a:off x="761819" y="3083543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03A22-6498-4D4E-B0E1-07DE9D6E12E4}">
      <dsp:nvSpPr>
        <dsp:cNvPr id="0" name=""/>
        <dsp:cNvSpPr/>
      </dsp:nvSpPr>
      <dsp:spPr>
        <a:xfrm rot="10800000">
          <a:off x="999135" y="3699857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Gestión institucional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17793" y="3699857"/>
        <a:ext cx="3376970" cy="474632"/>
      </dsp:txXfrm>
    </dsp:sp>
    <dsp:sp modelId="{320DF2A9-02E9-4BB2-B169-9A778D9EF313}">
      <dsp:nvSpPr>
        <dsp:cNvPr id="0" name=""/>
        <dsp:cNvSpPr/>
      </dsp:nvSpPr>
      <dsp:spPr>
        <a:xfrm>
          <a:off x="761819" y="3699857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CCEE37-84CC-4FFB-BDD2-2EBFE568AA78}">
      <dsp:nvSpPr>
        <dsp:cNvPr id="0" name=""/>
        <dsp:cNvSpPr/>
      </dsp:nvSpPr>
      <dsp:spPr>
        <a:xfrm rot="10800000">
          <a:off x="1022136" y="1466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Relevanci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63795" y="1466"/>
        <a:ext cx="3353969" cy="566635"/>
      </dsp:txXfrm>
    </dsp:sp>
    <dsp:sp modelId="{A06848A9-0673-48CE-9E8A-C7D28F82CB08}">
      <dsp:nvSpPr>
        <dsp:cNvPr id="0" name=""/>
        <dsp:cNvSpPr/>
      </dsp:nvSpPr>
      <dsp:spPr>
        <a:xfrm>
          <a:off x="738818" y="1466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DFC23A-E9FA-4EFC-95DC-F052523EAEAB}">
      <dsp:nvSpPr>
        <dsp:cNvPr id="0" name=""/>
        <dsp:cNvSpPr/>
      </dsp:nvSpPr>
      <dsp:spPr>
        <a:xfrm rot="10800000">
          <a:off x="1022136" y="737247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dirty="0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63795" y="737247"/>
        <a:ext cx="3353969" cy="566635"/>
      </dsp:txXfrm>
    </dsp:sp>
    <dsp:sp modelId="{D6AB906A-08BF-444F-AD94-8F4F589D9748}">
      <dsp:nvSpPr>
        <dsp:cNvPr id="0" name=""/>
        <dsp:cNvSpPr/>
      </dsp:nvSpPr>
      <dsp:spPr>
        <a:xfrm>
          <a:off x="738818" y="737247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81C47D-A3FB-4A37-9F8B-75D10D6E8A00}">
      <dsp:nvSpPr>
        <dsp:cNvPr id="0" name=""/>
        <dsp:cNvSpPr/>
      </dsp:nvSpPr>
      <dsp:spPr>
        <a:xfrm rot="10800000">
          <a:off x="1022136" y="1473027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63795" y="1473027"/>
        <a:ext cx="3353969" cy="566635"/>
      </dsp:txXfrm>
    </dsp:sp>
    <dsp:sp modelId="{4B922227-45CE-4E2F-B288-CE179C39C995}">
      <dsp:nvSpPr>
        <dsp:cNvPr id="0" name=""/>
        <dsp:cNvSpPr/>
      </dsp:nvSpPr>
      <dsp:spPr>
        <a:xfrm>
          <a:off x="738818" y="1473027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5F9641-0CCC-44A1-A251-AC2E59AC5AD1}">
      <dsp:nvSpPr>
        <dsp:cNvPr id="0" name=""/>
        <dsp:cNvSpPr/>
      </dsp:nvSpPr>
      <dsp:spPr>
        <a:xfrm rot="10800000">
          <a:off x="1022136" y="2208808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63795" y="2208808"/>
        <a:ext cx="3353969" cy="566635"/>
      </dsp:txXfrm>
    </dsp:sp>
    <dsp:sp modelId="{3F7AA024-1F19-4421-9CF0-A820B84FFCBF}">
      <dsp:nvSpPr>
        <dsp:cNvPr id="0" name=""/>
        <dsp:cNvSpPr/>
      </dsp:nvSpPr>
      <dsp:spPr>
        <a:xfrm>
          <a:off x="738818" y="2208808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96FCAF-D882-47BB-B229-C8C8749A112D}">
      <dsp:nvSpPr>
        <dsp:cNvPr id="0" name=""/>
        <dsp:cNvSpPr/>
      </dsp:nvSpPr>
      <dsp:spPr>
        <a:xfrm rot="10800000">
          <a:off x="1022136" y="2944589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63795" y="2944589"/>
        <a:ext cx="3353969" cy="566635"/>
      </dsp:txXfrm>
    </dsp:sp>
    <dsp:sp modelId="{BA7EA86A-870E-48D7-9790-E8125ECB2E09}">
      <dsp:nvSpPr>
        <dsp:cNvPr id="0" name=""/>
        <dsp:cNvSpPr/>
      </dsp:nvSpPr>
      <dsp:spPr>
        <a:xfrm>
          <a:off x="738818" y="2944589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611F49-B841-4787-8EDC-56CB38E0980C}">
      <dsp:nvSpPr>
        <dsp:cNvPr id="0" name=""/>
        <dsp:cNvSpPr/>
      </dsp:nvSpPr>
      <dsp:spPr>
        <a:xfrm rot="10800000">
          <a:off x="1022136" y="3680369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163795" y="3680369"/>
        <a:ext cx="3353969" cy="566635"/>
      </dsp:txXfrm>
    </dsp:sp>
    <dsp:sp modelId="{84FEFB6A-981F-4DA3-9096-A5A1C6AD2A85}">
      <dsp:nvSpPr>
        <dsp:cNvPr id="0" name=""/>
        <dsp:cNvSpPr/>
      </dsp:nvSpPr>
      <dsp:spPr>
        <a:xfrm>
          <a:off x="738818" y="3680369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3#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3#4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diagrams.loki3.com/BracketList+Icon">
  <dgm:title val="Lista de llaves verticales"/>
  <dgm:desc val="Se usa para mostrar bloques de información agrupados. Funciona bien con gran cantidad de texto de nivel 2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diagrams.loki3.com/BracketList+Icon">
  <dgm:title val="Lista de llaves verticales"/>
  <dgm:desc val="Se usa para mostrar bloques de información agrupados. Funciona bien con gran cantidad de texto de nivel 2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diagrams.loki3.com/BracketList+Icon">
  <dgm:title val="Lista de llaves verticales"/>
  <dgm:desc val="Se usa para mostrar bloques de información agrupados. Funciona bien con gran cantidad de texto de nivel 2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6516B628-9739-43AD-BE19-4870F3FE13DD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0589BC2B-E92E-4FC9-B543-5C68BE3BED5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40094027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70760F88-A26F-4D49-AEC5-7CBCA0A09A25}" type="datetime1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2468" tIns="46234" rIns="92468" bIns="46234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CO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wrap="square" lIns="92468" tIns="46234" rIns="92468" bIns="4623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s-ES_tradnl" noProof="0" smtClean="0"/>
              <a:t>Click to edit Master text styles</a:t>
            </a:r>
          </a:p>
          <a:p>
            <a:pPr lvl="1"/>
            <a:r>
              <a:rPr lang="es-ES_tradnl" noProof="0" smtClean="0"/>
              <a:t>Second level</a:t>
            </a:r>
          </a:p>
          <a:p>
            <a:pPr lvl="2"/>
            <a:r>
              <a:rPr lang="es-ES_tradnl" noProof="0" smtClean="0"/>
              <a:t>Third level</a:t>
            </a:r>
          </a:p>
          <a:p>
            <a:pPr lvl="3"/>
            <a:r>
              <a:rPr lang="es-ES_tradnl" noProof="0" smtClean="0"/>
              <a:t>Fourth level</a:t>
            </a:r>
          </a:p>
          <a:p>
            <a:pPr lvl="4"/>
            <a:r>
              <a:rPr lang="es-ES_tradnl" noProof="0" smtClean="0"/>
              <a:t>Fifth level</a:t>
            </a:r>
            <a:endParaRPr 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2468" tIns="46234" rIns="92468" bIns="4623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CBF81F2F-DDA8-4DE7-A0EA-FADB6AAF106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475964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smtClean="0"/>
          </a:p>
        </p:txBody>
      </p:sp>
      <p:sp>
        <p:nvSpPr>
          <p:cNvPr id="4813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1304" indent="-288963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55852" indent="-23117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18192" indent="-23117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80534" indent="-23117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42875" indent="-23117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05214" indent="-23117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67556" indent="-23117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29897" indent="-23117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7ADF4515-A31E-49EF-95B1-2EEF72CF8BF7}" type="slidenum">
              <a:rPr lang="en-US" sz="1200"/>
              <a:pPr/>
              <a:t>1</a:t>
            </a:fld>
            <a:endParaRPr lang="en-U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8F8496-B48B-4EC2-A9DB-6C910AC0A3F7}" type="slidenum">
              <a:rPr lang="es-CO" smtClean="0"/>
              <a:pPr/>
              <a:t>1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3362183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smtClean="0"/>
              <a:t>2011-dic-11 se eliminaron en</a:t>
            </a:r>
          </a:p>
          <a:p>
            <a:r>
              <a:rPr lang="es-ES_tradnl" dirty="0" smtClean="0"/>
              <a:t>Caja 5.</a:t>
            </a:r>
          </a:p>
          <a:p>
            <a:pPr marL="532977" lvl="1" indent="-173378">
              <a:buFont typeface="Arial" pitchFamily="34" charset="0"/>
              <a:buChar char="•"/>
              <a:defRPr/>
            </a:pPr>
            <a:r>
              <a:rPr lang="es-CO" dirty="0"/>
              <a:t>Emprendimientos de base tecnológica</a:t>
            </a:r>
          </a:p>
          <a:p>
            <a:pPr marL="635718" lvl="1" indent="-173378">
              <a:buFont typeface="Arial" pitchFamily="34" charset="0"/>
              <a:buChar char="•"/>
              <a:defRPr/>
            </a:pPr>
            <a:r>
              <a:rPr lang="es-ES" dirty="0" err="1"/>
              <a:t>Extensionismo</a:t>
            </a:r>
            <a:r>
              <a:rPr lang="es-ES" dirty="0"/>
              <a:t> tecnológico</a:t>
            </a:r>
            <a:endParaRPr lang="es-CO" dirty="0"/>
          </a:p>
          <a:p>
            <a:r>
              <a:rPr lang="es-ES_tradnl" dirty="0" smtClean="0"/>
              <a:t>Caja 6.</a:t>
            </a:r>
          </a:p>
          <a:p>
            <a:pPr marL="288963" lvl="1" indent="-288963" defTabSz="924681">
              <a:buFont typeface="Arial" pitchFamily="34" charset="0"/>
              <a:buChar char="•"/>
              <a:defRPr/>
            </a:pPr>
            <a:r>
              <a:rPr lang="es-ES_tradnl" sz="1400" dirty="0">
                <a:latin typeface="Arial" pitchFamily="34" charset="0"/>
                <a:cs typeface="Arial" pitchFamily="34" charset="0"/>
              </a:rPr>
              <a:t>Regionales y Centros de </a:t>
            </a:r>
            <a:r>
              <a:rPr lang="es-ES_tradnl" dirty="0">
                <a:latin typeface="Arial" pitchFamily="34" charset="0"/>
                <a:cs typeface="Arial" pitchFamily="34" charset="0"/>
              </a:rPr>
              <a:t>Formación</a:t>
            </a:r>
            <a:endParaRPr lang="es-CO" dirty="0">
              <a:latin typeface="Arial" pitchFamily="34" charset="0"/>
              <a:cs typeface="Arial" pitchFamily="34" charset="0"/>
            </a:endParaRPr>
          </a:p>
          <a:p>
            <a:r>
              <a:rPr lang="es-ES_tradnl" dirty="0" smtClean="0"/>
              <a:t>	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C1413D-930C-49C0-8CDB-8199ADDC7E91}" type="slidenum">
              <a:rPr lang="es-ES" smtClean="0"/>
              <a:pPr>
                <a:defRPr/>
              </a:pPr>
              <a:t>1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876677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smtClean="0">
              <a:solidFill>
                <a:srgbClr val="000000"/>
              </a:solidFill>
            </a:endParaRPr>
          </a:p>
        </p:txBody>
      </p:sp>
      <p:sp>
        <p:nvSpPr>
          <p:cNvPr id="32772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7024" indent="-291163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64653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30514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96375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62236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28096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93957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59819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/>
            <a:fld id="{239B917B-93DA-4D97-89DF-7904C8A27C4A}" type="slidenum">
              <a:rPr lang="en-US" sz="1200">
                <a:solidFill>
                  <a:srgbClr val="000000"/>
                </a:solidFill>
              </a:rPr>
              <a:pPr eaLnBrk="1"/>
              <a:t>28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3517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smtClean="0">
              <a:solidFill>
                <a:srgbClr val="000000"/>
              </a:solidFill>
            </a:endParaRPr>
          </a:p>
        </p:txBody>
      </p:sp>
      <p:sp>
        <p:nvSpPr>
          <p:cNvPr id="32772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7024" indent="-291163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64653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30514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96375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62236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28096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93957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59819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/>
            <a:fld id="{239B917B-93DA-4D97-89DF-7904C8A27C4A}" type="slidenum">
              <a:rPr lang="en-US" sz="1200">
                <a:solidFill>
                  <a:srgbClr val="000000"/>
                </a:solidFill>
              </a:rPr>
              <a:pPr eaLnBrk="1"/>
              <a:t>29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8696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smtClean="0">
              <a:solidFill>
                <a:srgbClr val="000000"/>
              </a:solidFill>
            </a:endParaRPr>
          </a:p>
        </p:txBody>
      </p:sp>
      <p:sp>
        <p:nvSpPr>
          <p:cNvPr id="32772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7024" indent="-291163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64653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30514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96375" indent="-23293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62236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28096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93957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59819" indent="-23293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/>
            <a:fld id="{239B917B-93DA-4D97-89DF-7904C8A27C4A}" type="slidenum">
              <a:rPr lang="en-US" sz="1200">
                <a:solidFill>
                  <a:srgbClr val="000000"/>
                </a:solidFill>
              </a:rPr>
              <a:pPr eaLnBrk="1"/>
              <a:t>30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44757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F81F2F-DDA8-4DE7-A0EA-FADB6AAF1065}" type="slidenum">
              <a:rPr lang="en-US" smtClean="0"/>
              <a:pPr>
                <a:defRPr/>
              </a:pPr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75123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71703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37B38-5C7B-4DF3-B92D-DD4D53E3E5CE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768318-59B8-4D6C-985B-929252C03A8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3111865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205880"/>
            <a:ext cx="8229600" cy="1143000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492896"/>
            <a:ext cx="8229600" cy="3633267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7296E7-483E-4E82-8283-F3ED40C876AF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479BAA-5A5A-4EAE-BAC8-A67EE37DB19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2578788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1EDF30-3281-4A75-A4EF-849DB963878C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78FBC-C06E-478B-B49F-1D89D916313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2578069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xmlns="" val="3418671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F3D95-69A8-4F81-9FDA-71AA508458E2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3265731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39920B-1244-4D74-80F7-CA5F9B5F1729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871927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469451-9873-477D-941A-82E135529C66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7159968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9CFDB5-78FE-4D1A-8521-BA8C924EDF87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6225317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2E2B54-5E6C-438B-891F-FD12A5DBBD60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1541747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49C6D-8DF2-4E65-AA79-3AC79751C81E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12194408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3B7841-5A01-44B1-B613-31C263B266E8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613770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A7E79-E854-46FF-9E10-BFBC4BD06901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8414B0-AC86-494B-BC3B-EA5568D6750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25040319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6BA94-6D1E-4A40-B2C2-BFFB19D8B6EC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27473108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8DED79-C5AC-4815-B62C-54CB17F54A5F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3559456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082C1-D230-4F40-9769-55B0B17E8C1F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3565776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9ABC3-1BFF-49B3-96B9-F2C25A959E48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1827660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7B199-25DF-4F98-9E3A-0AD6B0DD5A5D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496462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563C2B2-5A04-4DA9-9FD6-0E092CA0289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651694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E4E0C5-2CA4-4137-B1CF-2092D4F0DE1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1024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EAE3A-F550-477D-9182-B1D2FEDB2F4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348446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7221D5-99F3-4109-AB7C-A029BD1490A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218793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5095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6511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184482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2FE438-6435-464C-A407-68CAFD1D47E0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1ADB4-0025-4577-9285-868B50B03FC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19755749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6 Imagen" descr="interior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75456" y="3573016"/>
            <a:ext cx="5320680" cy="648072"/>
          </a:xfrm>
        </p:spPr>
        <p:txBody>
          <a:bodyPr/>
          <a:lstStyle>
            <a:lvl1pPr marL="0" indent="0" algn="l">
              <a:buNone/>
              <a:defRPr sz="2800" b="0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F0C762-79A6-410C-ACD0-A5C080003C6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12641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CD639-2E78-41B4-A7EA-F370647D05B1}" type="datetimeFigureOut">
              <a:rPr lang="es-CO" smtClean="0"/>
              <a:pPr/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6B7FF-18FA-4F19-9057-96F524DAC818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xmlns="" val="1090044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909D0E-BD90-4E20-A61B-4FF10DB14143}" type="datetimeFigureOut">
              <a:rPr lang="es-CO"/>
              <a:pPr>
                <a:defRPr/>
              </a:pPr>
              <a:t>28/11/2013</a:t>
            </a:fld>
            <a:endParaRPr lang="es-CO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5CC77-70F5-4971-8B7C-A8EC3CEB8742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xmlns="" val="28183235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1C079-7A3C-4ECB-9776-B46D3135B91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13388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81367FA-5C02-4A81-A7C3-125C8C8054B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107454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991EC-34F1-4537-A692-3FE799178FE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687155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3FDE03-6CF3-470F-B9C1-94EE54530F7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00349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C59B7-E73F-4453-AD5E-FE854D12DA5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620245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806008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white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xmlns="" val="3143894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A47FDC-417C-419D-B93F-4E2F4132CFD5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CDE23-82DD-48BF-B5D1-76B086A5542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39846562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848842-931E-490B-87BD-9C0E3E5AB9D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114193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D9D2E0-B5A4-406C-8F66-C7EDEEDF2D4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079135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D794BF-F61A-4DD4-B8D2-D5435014931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499273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714830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white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xmlns="" val="28992866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59504-90B4-4E2E-A42B-350FFD76F71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921700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B7AB1-E9B4-44E8-8598-136C68AD2FD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963616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70FEC-F81B-40B4-9B3D-D58766FE6B5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256074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3372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98985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220486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996951"/>
            <a:ext cx="4040188" cy="31292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220486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996951"/>
            <a:ext cx="4041775" cy="31292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59F5E4-250B-4822-99FD-A680DDD39902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0B354A-B461-4661-B79E-0E3B0C3D5AD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3323435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277888"/>
            <a:ext cx="8229600" cy="1143000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6F824-CB79-4E1D-A3D6-54E47DA57A23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1F35FF-49CB-44DA-9939-D22518A426C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4010504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57B73-7DD1-4916-85FB-A1AE7A378F5E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A7B67-A751-42F0-A70C-6C26A23AD33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455620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11482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1124744"/>
            <a:ext cx="5111750" cy="50014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2348880"/>
            <a:ext cx="3008313" cy="37772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F0988-E33A-4216-A8D6-512924AAB227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ECACD1-719C-4FE4-AE5C-866404858CB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10108861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1268759"/>
            <a:ext cx="5486400" cy="345881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9EFA4-601B-4207-9C2D-23B0C0795E87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F08CF9-2390-4802-8CF6-58B7C19F719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2955195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k to edit Master title style</a:t>
            </a:r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E149B4D1-5F11-4916-88E9-D2D0D2ED9645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22608052-423C-46D9-BF0C-62D736CC735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82" r:id="rId1"/>
    <p:sldLayoutId id="2147485183" r:id="rId2"/>
    <p:sldLayoutId id="2147485184" r:id="rId3"/>
    <p:sldLayoutId id="2147485185" r:id="rId4"/>
    <p:sldLayoutId id="2147485186" r:id="rId5"/>
    <p:sldLayoutId id="2147485187" r:id="rId6"/>
    <p:sldLayoutId id="2147485188" r:id="rId7"/>
    <p:sldLayoutId id="2147485189" r:id="rId8"/>
    <p:sldLayoutId id="2147485190" r:id="rId9"/>
    <p:sldLayoutId id="2147485191" r:id="rId10"/>
    <p:sldLayoutId id="2147485192" r:id="rId11"/>
    <p:sldLayoutId id="214748521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O" smtClean="0"/>
          </a:p>
        </p:txBody>
      </p:sp>
      <p:sp>
        <p:nvSpPr>
          <p:cNvPr id="2051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28/11/2013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FAB19A1E-896D-4EC9-A4AF-6CBA4CE9F5BF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4" r:id="rId2"/>
    <p:sldLayoutId id="2147485195" r:id="rId3"/>
    <p:sldLayoutId id="2147485196" r:id="rId4"/>
    <p:sldLayoutId id="2147485197" r:id="rId5"/>
    <p:sldLayoutId id="2147485198" r:id="rId6"/>
    <p:sldLayoutId id="2147485199" r:id="rId7"/>
    <p:sldLayoutId id="2147485200" r:id="rId8"/>
    <p:sldLayoutId id="2147485201" r:id="rId9"/>
    <p:sldLayoutId id="2147485202" r:id="rId10"/>
    <p:sldLayoutId id="2147485203" r:id="rId11"/>
    <p:sldLayoutId id="214748520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3075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8072D3A-3284-47AD-BAFE-7DAC9105067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3079" name="1 Imagen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05" r:id="rId2"/>
    <p:sldLayoutId id="2147485206" r:id="rId3"/>
    <p:sldLayoutId id="2147485207" r:id="rId4"/>
    <p:sldLayoutId id="2147485217" r:id="rId5"/>
    <p:sldLayoutId id="2147485218" r:id="rId6"/>
    <p:sldLayoutId id="2147485234" r:id="rId7"/>
    <p:sldLayoutId id="2147485236" r:id="rId8"/>
    <p:sldLayoutId id="2147485237" r:id="rId9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4099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450D45B-BA89-4722-B9FB-2EE4D1D02878}" type="datetime1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39CF7AC6-BF67-4549-BF35-4BDF99EBC5A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pic>
        <p:nvPicPr>
          <p:cNvPr id="4103" name="1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20" r:id="rId1"/>
    <p:sldLayoutId id="2147485221" r:id="rId2"/>
    <p:sldLayoutId id="2147485222" r:id="rId3"/>
    <p:sldLayoutId id="2147485223" r:id="rId4"/>
    <p:sldLayoutId id="2147485224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5123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23F925F-26E5-4213-B91F-322E3F281EF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5127" name="1 Imagen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25" r:id="rId1"/>
    <p:sldLayoutId id="2147485209" r:id="rId2"/>
    <p:sldLayoutId id="2147485210" r:id="rId3"/>
    <p:sldLayoutId id="2147485211" r:id="rId4"/>
    <p:sldLayoutId id="2147485226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614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11/28/2013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20C7DCA5-5F9C-43CD-B36E-F42A212517F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6151" name="1 Imagen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27" r:id="rId1"/>
    <p:sldLayoutId id="2147485212" r:id="rId2"/>
    <p:sldLayoutId id="2147485213" r:id="rId3"/>
    <p:sldLayoutId id="2147485214" r:id="rId4"/>
    <p:sldLayoutId id="2147485228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image" Target="../media/image21.jpeg"/><Relationship Id="rId7" Type="http://schemas.openxmlformats.org/officeDocument/2006/relationships/diagramData" Target="../diagrams/data3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4.jpeg"/><Relationship Id="rId11" Type="http://schemas.microsoft.com/office/2007/relationships/diagramDrawing" Target="../diagrams/drawing3.xml"/><Relationship Id="rId5" Type="http://schemas.openxmlformats.org/officeDocument/2006/relationships/image" Target="../media/image23.jpeg"/><Relationship Id="rId10" Type="http://schemas.openxmlformats.org/officeDocument/2006/relationships/diagramColors" Target="../diagrams/colors3.xml"/><Relationship Id="rId4" Type="http://schemas.openxmlformats.org/officeDocument/2006/relationships/image" Target="../media/image22.jpeg"/><Relationship Id="rId9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hyperlink" Target="http://www.google.com.co/url?sa=i&amp;source=images&amp;cd=&amp;cad=rja&amp;docid=pELYcV8hCu4o_M&amp;tbnid=W7VuqA_Q1MDvDM:&amp;ved=0CAgQjRwwAA&amp;url=http://regionesdecolombiamafe.blogspot.com/2011/04/regiones-de-colombia.html&amp;ei=EYAiUc-1KYie9QSd-4CgBQ&amp;psig=AFQjCNFUN_oSRViy-n69XvMewFgwjDuwPQ&amp;ust=1361301905723736" TargetMode="External"/><Relationship Id="rId1" Type="http://schemas.openxmlformats.org/officeDocument/2006/relationships/slideLayout" Target="../slideLayouts/slideLayout26.xml"/><Relationship Id="rId5" Type="http://schemas.microsoft.com/office/2007/relationships/hdphoto" Target="../media/hdphoto1.wdp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" Target="slide34.xml"/><Relationship Id="rId3" Type="http://schemas.openxmlformats.org/officeDocument/2006/relationships/slide" Target="slide15.xml"/><Relationship Id="rId7" Type="http://schemas.openxmlformats.org/officeDocument/2006/relationships/slide" Target="slide3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slide" Target="slide26.xml"/><Relationship Id="rId5" Type="http://schemas.openxmlformats.org/officeDocument/2006/relationships/slide" Target="slide38.xml"/><Relationship Id="rId4" Type="http://schemas.openxmlformats.org/officeDocument/2006/relationships/slide" Target="slide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microsoft.com/office/2007/relationships/diagramDrawing" Target="../diagrams/drawing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8.jpeg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13" Type="http://schemas.openxmlformats.org/officeDocument/2006/relationships/image" Target="../media/image40.emf"/><Relationship Id="rId3" Type="http://schemas.openxmlformats.org/officeDocument/2006/relationships/image" Target="../media/image30.emf"/><Relationship Id="rId7" Type="http://schemas.openxmlformats.org/officeDocument/2006/relationships/image" Target="../media/image34.emf"/><Relationship Id="rId12" Type="http://schemas.openxmlformats.org/officeDocument/2006/relationships/image" Target="../media/image39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emf"/><Relationship Id="rId11" Type="http://schemas.openxmlformats.org/officeDocument/2006/relationships/image" Target="../media/image38.emf"/><Relationship Id="rId5" Type="http://schemas.openxmlformats.org/officeDocument/2006/relationships/image" Target="../media/image32.emf"/><Relationship Id="rId10" Type="http://schemas.openxmlformats.org/officeDocument/2006/relationships/image" Target="../media/image37.emf"/><Relationship Id="rId4" Type="http://schemas.openxmlformats.org/officeDocument/2006/relationships/image" Target="../media/image31.emf"/><Relationship Id="rId9" Type="http://schemas.openxmlformats.org/officeDocument/2006/relationships/image" Target="../media/image36.emf"/><Relationship Id="rId14" Type="http://schemas.openxmlformats.org/officeDocument/2006/relationships/image" Target="../media/image4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9.xml"/><Relationship Id="rId3" Type="http://schemas.openxmlformats.org/officeDocument/2006/relationships/diagramLayout" Target="../diagrams/layout8.xml"/><Relationship Id="rId7" Type="http://schemas.openxmlformats.org/officeDocument/2006/relationships/diagramLayout" Target="../diagrams/layout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6.xml"/><Relationship Id="rId6" Type="http://schemas.openxmlformats.org/officeDocument/2006/relationships/diagramData" Target="../diagrams/data9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microsoft.com/office/2007/relationships/diagramDrawing" Target="../diagrams/drawing8.xml"/><Relationship Id="rId4" Type="http://schemas.openxmlformats.org/officeDocument/2006/relationships/diagramQuickStyle" Target="../diagrams/quickStyle8.xml"/><Relationship Id="rId9" Type="http://schemas.openxmlformats.org/officeDocument/2006/relationships/diagramColors" Target="../diagrams/colors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1.xml"/><Relationship Id="rId3" Type="http://schemas.openxmlformats.org/officeDocument/2006/relationships/diagramLayout" Target="../diagrams/layout10.xml"/><Relationship Id="rId7" Type="http://schemas.openxmlformats.org/officeDocument/2006/relationships/diagramLayout" Target="../diagrams/layout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6.xml"/><Relationship Id="rId6" Type="http://schemas.openxmlformats.org/officeDocument/2006/relationships/diagramData" Target="../diagrams/data11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microsoft.com/office/2007/relationships/diagramDrawing" Target="../diagrams/drawing10.xml"/><Relationship Id="rId4" Type="http://schemas.openxmlformats.org/officeDocument/2006/relationships/diagramQuickStyle" Target="../diagrams/quickStyle10.xml"/><Relationship Id="rId9" Type="http://schemas.openxmlformats.org/officeDocument/2006/relationships/diagramColors" Target="../diagrams/colors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6.xml"/><Relationship Id="rId4" Type="http://schemas.openxmlformats.org/officeDocument/2006/relationships/slide" Target="slide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7" Type="http://schemas.microsoft.com/office/2007/relationships/diagramDrawing" Target="../diagrams/drawing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4.jpeg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diagramLayout" Target="../diagrams/layout15.xml"/><Relationship Id="rId7" Type="http://schemas.openxmlformats.org/officeDocument/2006/relationships/image" Target="../media/image47.jpeg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6.png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diagramData" Target="../diagrams/data17.xml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8.xml"/><Relationship Id="rId3" Type="http://schemas.openxmlformats.org/officeDocument/2006/relationships/diagramData" Target="../diagrams/data18.xml"/><Relationship Id="rId7" Type="http://schemas.openxmlformats.org/officeDocument/2006/relationships/image" Target="../media/image4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2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6.xml"/><Relationship Id="rId5" Type="http://schemas.openxmlformats.org/officeDocument/2006/relationships/slide" Target="slide14.xml"/><Relationship Id="rId4" Type="http://schemas.openxmlformats.org/officeDocument/2006/relationships/image" Target="../media/image55.jpe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9.xml"/><Relationship Id="rId3" Type="http://schemas.openxmlformats.org/officeDocument/2006/relationships/diagramData" Target="../diagrams/data19.xml"/><Relationship Id="rId7" Type="http://schemas.openxmlformats.org/officeDocument/2006/relationships/slide" Target="slide14.xml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image" Target="../media/image57.gif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hyperlink" Target="http://www.colombiaaprende.edu.co/educacionparaeltrabajo/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10" Type="http://schemas.openxmlformats.org/officeDocument/2006/relationships/slide" Target="slide14.xml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7" Type="http://schemas.microsoft.com/office/2007/relationships/diagramDrawing" Target="../diagrams/drawing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6.jpeg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Data" Target="../diagrams/data1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3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2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.xml"/><Relationship Id="rId5" Type="http://schemas.openxmlformats.org/officeDocument/2006/relationships/image" Target="../media/image14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4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3212976"/>
            <a:ext cx="7992888" cy="4278094"/>
          </a:xfrm>
          <a:ln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O" sz="3200" dirty="0" smtClean="0"/>
              <a:t>III </a:t>
            </a:r>
            <a:r>
              <a:rPr lang="es-CO" sz="3200" dirty="0"/>
              <a:t>Encuentro de Secretarios de Educación</a:t>
            </a: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iembre 27-29 de 2013</a:t>
            </a:r>
            <a:r>
              <a:rPr lang="es-CO" sz="2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b="0" i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M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1259632" y="2420888"/>
            <a:ext cx="70567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CEMINISTERIO DE EDUCACION </a:t>
            </a:r>
            <a:r>
              <a:rPr lang="es-CO" sz="20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ERIOR</a:t>
            </a:r>
          </a:p>
          <a:p>
            <a:pPr algn="ctr"/>
            <a:r>
              <a:rPr lang="es-CO" sz="20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DUCACIÓN  PARA EL TRABAJO</a:t>
            </a:r>
            <a:endParaRPr lang="es-CO" sz="2000" dirty="0"/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34399"/>
          <a:stretch/>
        </p:blipFill>
        <p:spPr>
          <a:xfrm>
            <a:off x="2123728" y="4437112"/>
            <a:ext cx="4915335" cy="165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89238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3" descr="G:\BlackBerry\pictures\IMG01424-20121115-091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5494" y="4653136"/>
            <a:ext cx="1896603" cy="1375607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4" name="Picture 5" descr="G:\BlackBerry\pictures\IMG01434-20121116-112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8262" y="1826084"/>
            <a:ext cx="1820154" cy="121353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5" name="Picture 7" descr="G:\BlackBerry\pictures\IMG01437-20121116-164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82973" y="3229068"/>
            <a:ext cx="1920875" cy="1280052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G:\BlackBerry\pictures\IMG01411-20121114-085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10872" y="4653136"/>
            <a:ext cx="1837543" cy="1375607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9" name="Picture 11" descr="G:\BlackBerry\pictures\IMG01412-20121114-113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5494" y="1791296"/>
            <a:ext cx="1872332" cy="1248322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4136021641"/>
              </p:ext>
            </p:extLst>
          </p:nvPr>
        </p:nvGraphicFramePr>
        <p:xfrm>
          <a:off x="5220023" y="1791296"/>
          <a:ext cx="3528441" cy="4085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1 Título"/>
          <p:cNvSpPr>
            <a:spLocks noGrp="1"/>
          </p:cNvSpPr>
          <p:nvPr>
            <p:ph type="title"/>
          </p:nvPr>
        </p:nvSpPr>
        <p:spPr>
          <a:xfrm>
            <a:off x="5220072" y="620688"/>
            <a:ext cx="3384376" cy="432047"/>
          </a:xfrm>
          <a:solidFill>
            <a:schemeClr val="accent2">
              <a:lumMod val="75000"/>
            </a:schemeClr>
          </a:solidFill>
        </p:spPr>
        <p:txBody>
          <a:bodyPr/>
          <a:lstStyle/>
          <a:p>
            <a:r>
              <a:rPr lang="es-ES_tradnl" dirty="0" smtClean="0"/>
              <a:t/>
            </a:r>
            <a:br>
              <a:rPr lang="es-ES_tradnl" dirty="0" smtClean="0"/>
            </a:br>
            <a:r>
              <a:rPr lang="es-ES_tradnl" dirty="0" smtClean="0"/>
              <a:t/>
            </a:r>
            <a:br>
              <a:rPr lang="es-ES_tradnl" dirty="0" smtClean="0"/>
            </a:br>
            <a:r>
              <a:rPr lang="es-ES_tradnl" sz="2800" b="1" dirty="0" smtClean="0">
                <a:solidFill>
                  <a:schemeClr val="bg1"/>
                </a:solidFill>
              </a:rPr>
              <a:t>DESAFÍOS</a:t>
            </a:r>
            <a:r>
              <a:rPr lang="es-CO" sz="2800" dirty="0" smtClean="0">
                <a:solidFill>
                  <a:schemeClr val="bg1"/>
                </a:solidFill>
              </a:rPr>
              <a:t/>
            </a:r>
            <a:br>
              <a:rPr lang="es-CO" sz="2800" dirty="0" smtClean="0">
                <a:solidFill>
                  <a:schemeClr val="bg1"/>
                </a:solidFill>
              </a:rPr>
            </a:br>
            <a:r>
              <a:rPr lang="es-CO" dirty="0"/>
              <a:t/>
            </a:r>
            <a:br>
              <a:rPr lang="es-CO" dirty="0"/>
            </a:b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xmlns="" val="3752784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34 Conector recto de flecha"/>
          <p:cNvCxnSpPr/>
          <p:nvPr/>
        </p:nvCxnSpPr>
        <p:spPr>
          <a:xfrm>
            <a:off x="3319253" y="2352254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74 Conector recto de flecha"/>
          <p:cNvCxnSpPr/>
          <p:nvPr/>
        </p:nvCxnSpPr>
        <p:spPr>
          <a:xfrm flipH="1" flipV="1">
            <a:off x="4983920" y="1999973"/>
            <a:ext cx="452395" cy="352281"/>
          </a:xfrm>
          <a:prstGeom prst="straightConnector1">
            <a:avLst/>
          </a:prstGeom>
          <a:ln>
            <a:noFill/>
            <a:tailEnd type="arrow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78 Conector recto de flecha"/>
          <p:cNvCxnSpPr/>
          <p:nvPr/>
        </p:nvCxnSpPr>
        <p:spPr>
          <a:xfrm flipH="1" flipV="1">
            <a:off x="4983920" y="1999973"/>
            <a:ext cx="2827968" cy="352281"/>
          </a:xfrm>
          <a:prstGeom prst="straightConnector1">
            <a:avLst/>
          </a:prstGeom>
          <a:ln>
            <a:noFill/>
            <a:tailEnd type="arrow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86 Conector recto de flecha"/>
          <p:cNvCxnSpPr/>
          <p:nvPr/>
        </p:nvCxnSpPr>
        <p:spPr>
          <a:xfrm flipV="1">
            <a:off x="3159435" y="3569596"/>
            <a:ext cx="1626854" cy="412867"/>
          </a:xfrm>
          <a:prstGeom prst="straightConnector1">
            <a:avLst/>
          </a:prstGeom>
          <a:ln>
            <a:noFill/>
            <a:tailEnd type="arrow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9 Diagrama"/>
          <p:cNvGraphicFramePr/>
          <p:nvPr>
            <p:extLst>
              <p:ext uri="{D42A27DB-BD31-4B8C-83A1-F6EECF244321}">
                <p14:modId xmlns:p14="http://schemas.microsoft.com/office/powerpoint/2010/main" xmlns="" val="1515604481"/>
              </p:ext>
            </p:extLst>
          </p:nvPr>
        </p:nvGraphicFramePr>
        <p:xfrm>
          <a:off x="899592" y="1397000"/>
          <a:ext cx="7344816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5" name="1 Título"/>
          <p:cNvSpPr txBox="1">
            <a:spLocks/>
          </p:cNvSpPr>
          <p:nvPr/>
        </p:nvSpPr>
        <p:spPr bwMode="auto">
          <a:xfrm>
            <a:off x="5252582" y="620688"/>
            <a:ext cx="3384376" cy="40414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_tradnl" b="0" dirty="0" smtClean="0"/>
              <a:t/>
            </a:r>
            <a:br>
              <a:rPr lang="es-ES_tradnl" b="0" dirty="0" smtClean="0"/>
            </a:br>
            <a:r>
              <a:rPr lang="es-ES_tradnl" b="0" dirty="0" smtClean="0"/>
              <a:t/>
            </a:r>
            <a:br>
              <a:rPr lang="es-ES_tradnl" b="0" dirty="0" smtClean="0"/>
            </a:br>
            <a:r>
              <a:rPr lang="es-ES_tradnl" sz="3200" dirty="0" smtClean="0">
                <a:solidFill>
                  <a:schemeClr val="bg1"/>
                </a:solidFill>
              </a:rPr>
              <a:t>RETOS</a:t>
            </a:r>
            <a:r>
              <a:rPr lang="es-CO" sz="2000" b="0" dirty="0" smtClean="0">
                <a:solidFill>
                  <a:schemeClr val="bg1"/>
                </a:solidFill>
              </a:rPr>
              <a:t/>
            </a:r>
            <a:br>
              <a:rPr lang="es-CO" sz="2000" b="0" dirty="0" smtClean="0">
                <a:solidFill>
                  <a:schemeClr val="bg1"/>
                </a:solidFill>
              </a:rPr>
            </a:br>
            <a:r>
              <a:rPr lang="es-CO" b="0" dirty="0" smtClean="0"/>
              <a:t/>
            </a:r>
            <a:br>
              <a:rPr lang="es-CO" b="0" dirty="0" smtClean="0"/>
            </a:br>
            <a:endParaRPr lang="es-CO" b="0" dirty="0"/>
          </a:p>
        </p:txBody>
      </p:sp>
    </p:spTree>
    <p:extLst>
      <p:ext uri="{BB962C8B-B14F-4D97-AF65-F5344CB8AC3E}">
        <p14:creationId xmlns:p14="http://schemas.microsoft.com/office/powerpoint/2010/main" xmlns="" val="4031747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65 Grupo"/>
          <p:cNvGrpSpPr>
            <a:grpSpLocks/>
          </p:cNvGrpSpPr>
          <p:nvPr/>
        </p:nvGrpSpPr>
        <p:grpSpPr bwMode="auto">
          <a:xfrm>
            <a:off x="971153" y="1196752"/>
            <a:ext cx="8172847" cy="5656486"/>
            <a:chOff x="-510447" y="804333"/>
            <a:chExt cx="8492755" cy="5582311"/>
          </a:xfrm>
        </p:grpSpPr>
        <p:pic>
          <p:nvPicPr>
            <p:cNvPr id="29709" name="3 Imagen" descr="mapa-colombia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4557" y="914035"/>
              <a:ext cx="4520101" cy="5472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10" name="5 CuadroTexto"/>
            <p:cNvSpPr txBox="1">
              <a:spLocks noChangeArrowheads="1"/>
            </p:cNvSpPr>
            <p:nvPr/>
          </p:nvSpPr>
          <p:spPr bwMode="auto">
            <a:xfrm>
              <a:off x="4340233" y="4653874"/>
              <a:ext cx="552504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Caquetá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8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11" name="6 CuadroTexto"/>
            <p:cNvSpPr txBox="1">
              <a:spLocks noChangeArrowheads="1"/>
            </p:cNvSpPr>
            <p:nvPr/>
          </p:nvSpPr>
          <p:spPr bwMode="auto">
            <a:xfrm>
              <a:off x="4329119" y="4795098"/>
              <a:ext cx="633474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Florencia 20</a:t>
              </a:r>
            </a:p>
          </p:txBody>
        </p:sp>
        <p:sp>
          <p:nvSpPr>
            <p:cNvPr id="29712" name="7 CuadroTexto"/>
            <p:cNvSpPr txBox="1">
              <a:spLocks noChangeArrowheads="1"/>
            </p:cNvSpPr>
            <p:nvPr/>
          </p:nvSpPr>
          <p:spPr bwMode="auto">
            <a:xfrm>
              <a:off x="4599021" y="1843677"/>
              <a:ext cx="508049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Cesar 17</a:t>
              </a:r>
            </a:p>
          </p:txBody>
        </p:sp>
        <p:sp>
          <p:nvSpPr>
            <p:cNvPr id="29713" name="8 CuadroTexto"/>
            <p:cNvSpPr txBox="1">
              <a:spLocks noChangeArrowheads="1"/>
            </p:cNvSpPr>
            <p:nvPr/>
          </p:nvSpPr>
          <p:spPr bwMode="auto">
            <a:xfrm>
              <a:off x="4603784" y="1967446"/>
              <a:ext cx="719207" cy="276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Valledupar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60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14" name="9 CuadroTexto"/>
            <p:cNvSpPr txBox="1">
              <a:spLocks noChangeArrowheads="1"/>
            </p:cNvSpPr>
            <p:nvPr/>
          </p:nvSpPr>
          <p:spPr bwMode="auto">
            <a:xfrm>
              <a:off x="4716507" y="4252417"/>
              <a:ext cx="577906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Guaviare 9</a:t>
              </a:r>
            </a:p>
          </p:txBody>
        </p:sp>
        <p:sp>
          <p:nvSpPr>
            <p:cNvPr id="29715" name="10 CuadroTexto"/>
            <p:cNvSpPr txBox="1">
              <a:spLocks noChangeArrowheads="1"/>
            </p:cNvSpPr>
            <p:nvPr/>
          </p:nvSpPr>
          <p:spPr bwMode="auto">
            <a:xfrm>
              <a:off x="3954433" y="804333"/>
              <a:ext cx="784301" cy="461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Atlántico 13</a:t>
              </a:r>
            </a:p>
            <a:p>
              <a:r>
                <a:rPr lang="es-CO" sz="600" b="1">
                  <a:solidFill>
                    <a:srgbClr val="262673"/>
                  </a:solidFill>
                </a:rPr>
                <a:t>Barranquilla 116</a:t>
              </a:r>
            </a:p>
            <a:p>
              <a:r>
                <a:rPr lang="es-CO" sz="600" b="1">
                  <a:solidFill>
                    <a:srgbClr val="262673"/>
                  </a:solidFill>
                </a:rPr>
                <a:t>Malambo  0</a:t>
              </a:r>
            </a:p>
            <a:p>
              <a:r>
                <a:rPr lang="es-CO" sz="600" b="1">
                  <a:solidFill>
                    <a:srgbClr val="262673"/>
                  </a:solidFill>
                </a:rPr>
                <a:t>Soledad   8</a:t>
              </a:r>
            </a:p>
          </p:txBody>
        </p:sp>
        <p:cxnSp>
          <p:nvCxnSpPr>
            <p:cNvPr id="13" name="12 Conector angular"/>
            <p:cNvCxnSpPr/>
            <p:nvPr/>
          </p:nvCxnSpPr>
          <p:spPr bwMode="auto">
            <a:xfrm rot="5400000" flipH="1" flipV="1">
              <a:off x="4062470" y="1343820"/>
              <a:ext cx="288795" cy="73032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717" name="13 CuadroTexto"/>
            <p:cNvSpPr txBox="1">
              <a:spLocks noChangeArrowheads="1"/>
            </p:cNvSpPr>
            <p:nvPr/>
          </p:nvSpPr>
          <p:spPr bwMode="auto">
            <a:xfrm>
              <a:off x="3060584" y="1546949"/>
              <a:ext cx="692217" cy="36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Bolívar 13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Cartagen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8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Magangue  15</a:t>
              </a:r>
            </a:p>
          </p:txBody>
        </p:sp>
        <p:sp>
          <p:nvSpPr>
            <p:cNvPr id="29718" name="14 CuadroTexto"/>
            <p:cNvSpPr txBox="1">
              <a:spLocks noChangeArrowheads="1"/>
            </p:cNvSpPr>
            <p:nvPr/>
          </p:nvSpPr>
          <p:spPr bwMode="auto">
            <a:xfrm>
              <a:off x="6520081" y="3006262"/>
              <a:ext cx="1462227" cy="461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003399"/>
                  </a:solidFill>
                </a:rPr>
                <a:t>Boyacá 28</a:t>
              </a:r>
            </a:p>
            <a:p>
              <a:r>
                <a:rPr lang="es-CO" sz="600" b="1" dirty="0">
                  <a:solidFill>
                    <a:srgbClr val="003399"/>
                  </a:solidFill>
                </a:rPr>
                <a:t>Tunja 28</a:t>
              </a:r>
            </a:p>
            <a:p>
              <a:r>
                <a:rPr lang="es-CO" sz="600" b="1" dirty="0">
                  <a:solidFill>
                    <a:srgbClr val="003399"/>
                  </a:solidFill>
                </a:rPr>
                <a:t>Duitama  21</a:t>
              </a:r>
            </a:p>
            <a:p>
              <a:r>
                <a:rPr lang="es-CO" sz="600" b="1" dirty="0">
                  <a:solidFill>
                    <a:srgbClr val="003399"/>
                  </a:solidFill>
                </a:rPr>
                <a:t>Sogamoso </a:t>
              </a:r>
              <a:r>
                <a:rPr lang="es-CO" sz="600" b="1" dirty="0" smtClean="0">
                  <a:solidFill>
                    <a:srgbClr val="003399"/>
                  </a:solidFill>
                </a:rPr>
                <a:t>19</a:t>
              </a:r>
              <a:endParaRPr lang="es-CO" sz="600" b="1" dirty="0">
                <a:solidFill>
                  <a:srgbClr val="003399"/>
                </a:solidFill>
              </a:endParaRPr>
            </a:p>
          </p:txBody>
        </p:sp>
        <p:sp>
          <p:nvSpPr>
            <p:cNvPr id="29719" name="15 CuadroTexto"/>
            <p:cNvSpPr txBox="1">
              <a:spLocks noChangeArrowheads="1"/>
            </p:cNvSpPr>
            <p:nvPr/>
          </p:nvSpPr>
          <p:spPr bwMode="auto">
            <a:xfrm>
              <a:off x="3779791" y="3152775"/>
              <a:ext cx="656012" cy="276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Caldas 45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Manizales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61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20" name="16 CuadroTexto"/>
            <p:cNvSpPr txBox="1">
              <a:spLocks noChangeArrowheads="1"/>
            </p:cNvSpPr>
            <p:nvPr/>
          </p:nvSpPr>
          <p:spPr bwMode="auto">
            <a:xfrm>
              <a:off x="5075317" y="2997270"/>
              <a:ext cx="643000" cy="276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Casanare 11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Yopal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5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21" name="17 CuadroTexto"/>
            <p:cNvSpPr txBox="1">
              <a:spLocks noChangeArrowheads="1"/>
            </p:cNvSpPr>
            <p:nvPr/>
          </p:nvSpPr>
          <p:spPr bwMode="auto">
            <a:xfrm>
              <a:off x="3203473" y="4015987"/>
              <a:ext cx="612834" cy="277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Cauca  35</a:t>
              </a:r>
            </a:p>
            <a:p>
              <a:r>
                <a:rPr lang="es-CO" sz="600" b="1">
                  <a:solidFill>
                    <a:srgbClr val="262673"/>
                  </a:solidFill>
                </a:rPr>
                <a:t>Popayán 30</a:t>
              </a:r>
            </a:p>
          </p:txBody>
        </p:sp>
        <p:sp>
          <p:nvSpPr>
            <p:cNvPr id="29722" name="18 CuadroTexto"/>
            <p:cNvSpPr txBox="1">
              <a:spLocks noChangeArrowheads="1"/>
            </p:cNvSpPr>
            <p:nvPr/>
          </p:nvSpPr>
          <p:spPr bwMode="auto">
            <a:xfrm>
              <a:off x="3276505" y="3068675"/>
              <a:ext cx="514400" cy="27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Choco 1</a:t>
              </a:r>
            </a:p>
            <a:p>
              <a:r>
                <a:rPr lang="es-CO" sz="600" b="1">
                  <a:solidFill>
                    <a:srgbClr val="262673"/>
                  </a:solidFill>
                </a:rPr>
                <a:t>Quibdó 6</a:t>
              </a:r>
            </a:p>
          </p:txBody>
        </p:sp>
        <p:sp>
          <p:nvSpPr>
            <p:cNvPr id="29723" name="19 CuadroTexto"/>
            <p:cNvSpPr txBox="1">
              <a:spLocks noChangeArrowheads="1"/>
            </p:cNvSpPr>
            <p:nvPr/>
          </p:nvSpPr>
          <p:spPr bwMode="auto">
            <a:xfrm>
              <a:off x="3400342" y="1956339"/>
              <a:ext cx="627123" cy="461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Córdob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68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Monterí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9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Lorica     12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Sahagún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9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24" name="20 CuadroTexto"/>
            <p:cNvSpPr txBox="1">
              <a:spLocks noChangeArrowheads="1"/>
            </p:cNvSpPr>
            <p:nvPr/>
          </p:nvSpPr>
          <p:spPr bwMode="auto">
            <a:xfrm>
              <a:off x="5796112" y="2061067"/>
              <a:ext cx="848391" cy="922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Cundinamarca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54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Bogotá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81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Chía 11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Facatativá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9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Fusagasugá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5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Girardot 16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Soacha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3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Zipaquirá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0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Mosquer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25" name="22 CuadroTexto"/>
            <p:cNvSpPr txBox="1">
              <a:spLocks noChangeArrowheads="1"/>
            </p:cNvSpPr>
            <p:nvPr/>
          </p:nvSpPr>
          <p:spPr bwMode="auto">
            <a:xfrm>
              <a:off x="3840122" y="4004879"/>
              <a:ext cx="546998" cy="369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Huila  13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Neiv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47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Pitalito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6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26" name="23 CuadroTexto"/>
            <p:cNvSpPr txBox="1">
              <a:spLocks noChangeArrowheads="1"/>
            </p:cNvSpPr>
            <p:nvPr/>
          </p:nvSpPr>
          <p:spPr bwMode="auto">
            <a:xfrm>
              <a:off x="5011811" y="1083607"/>
              <a:ext cx="623949" cy="553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La Guajira 3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Riohacha 8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Maicao 3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Uribi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27" name="24 CuadroTexto"/>
            <p:cNvSpPr txBox="1">
              <a:spLocks noChangeArrowheads="1"/>
            </p:cNvSpPr>
            <p:nvPr/>
          </p:nvSpPr>
          <p:spPr bwMode="auto">
            <a:xfrm>
              <a:off x="4305305" y="1515213"/>
              <a:ext cx="730321" cy="368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Magdalena  18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Santa Marta </a:t>
              </a:r>
              <a:r>
                <a:rPr lang="es-CO" sz="600" dirty="0" smtClean="0">
                  <a:solidFill>
                    <a:srgbClr val="262673"/>
                  </a:solidFill>
                </a:rPr>
                <a:t>29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Ciénaga  2 </a:t>
              </a:r>
            </a:p>
          </p:txBody>
        </p:sp>
        <p:cxnSp>
          <p:nvCxnSpPr>
            <p:cNvPr id="27" name="26 Conector angular"/>
            <p:cNvCxnSpPr/>
            <p:nvPr/>
          </p:nvCxnSpPr>
          <p:spPr bwMode="auto">
            <a:xfrm flipV="1">
              <a:off x="4427552" y="2348275"/>
              <a:ext cx="1368557" cy="1009196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729" name="27 CuadroTexto"/>
            <p:cNvSpPr txBox="1">
              <a:spLocks noChangeArrowheads="1"/>
            </p:cNvSpPr>
            <p:nvPr/>
          </p:nvSpPr>
          <p:spPr bwMode="auto">
            <a:xfrm>
              <a:off x="4464071" y="3717671"/>
              <a:ext cx="757011" cy="276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Meta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9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Villavicencio </a:t>
              </a:r>
              <a:r>
                <a:rPr lang="es-CO" sz="600" dirty="0" smtClean="0">
                  <a:solidFill>
                    <a:srgbClr val="262673"/>
                  </a:solidFill>
                </a:rPr>
                <a:t>97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30" name="29 CuadroTexto"/>
            <p:cNvSpPr txBox="1">
              <a:spLocks noChangeArrowheads="1"/>
            </p:cNvSpPr>
            <p:nvPr/>
          </p:nvSpPr>
          <p:spPr bwMode="auto">
            <a:xfrm>
              <a:off x="2820848" y="4374600"/>
              <a:ext cx="585845" cy="461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Nariño  29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Pasto    40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Ipiales   15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Tumaco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3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31" name="30 CuadroTexto"/>
            <p:cNvSpPr txBox="1">
              <a:spLocks noChangeArrowheads="1"/>
            </p:cNvSpPr>
            <p:nvPr/>
          </p:nvSpPr>
          <p:spPr bwMode="auto">
            <a:xfrm>
              <a:off x="4586319" y="2164208"/>
              <a:ext cx="1024037" cy="276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Norte de Santander  14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Cúcuta  55</a:t>
              </a:r>
            </a:p>
          </p:txBody>
        </p:sp>
        <p:sp>
          <p:nvSpPr>
            <p:cNvPr id="29732" name="31 CuadroTexto"/>
            <p:cNvSpPr txBox="1">
              <a:spLocks noChangeArrowheads="1"/>
            </p:cNvSpPr>
            <p:nvPr/>
          </p:nvSpPr>
          <p:spPr bwMode="auto">
            <a:xfrm>
              <a:off x="3451147" y="4661808"/>
              <a:ext cx="663639" cy="1856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Putumayo 12</a:t>
              </a:r>
            </a:p>
          </p:txBody>
        </p:sp>
        <p:sp>
          <p:nvSpPr>
            <p:cNvPr id="29733" name="32 CuadroTexto"/>
            <p:cNvSpPr txBox="1">
              <a:spLocks noChangeArrowheads="1"/>
            </p:cNvSpPr>
            <p:nvPr/>
          </p:nvSpPr>
          <p:spPr bwMode="auto">
            <a:xfrm>
              <a:off x="2627154" y="3357470"/>
              <a:ext cx="622346" cy="276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Quindío  7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Armeni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42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cxnSp>
          <p:nvCxnSpPr>
            <p:cNvPr id="35" name="34 Conector angular"/>
            <p:cNvCxnSpPr>
              <a:endCxn id="29733" idx="3"/>
            </p:cNvCxnSpPr>
            <p:nvPr/>
          </p:nvCxnSpPr>
          <p:spPr bwMode="auto">
            <a:xfrm rot="10800000">
              <a:off x="3249501" y="3495909"/>
              <a:ext cx="674766" cy="77372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735" name="35 CuadroTexto"/>
            <p:cNvSpPr txBox="1">
              <a:spLocks noChangeArrowheads="1"/>
            </p:cNvSpPr>
            <p:nvPr/>
          </p:nvSpPr>
          <p:spPr bwMode="auto">
            <a:xfrm>
              <a:off x="2339789" y="2997270"/>
              <a:ext cx="827167" cy="368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Risaralda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2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Pereir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57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Dosquebradas 10</a:t>
              </a:r>
            </a:p>
          </p:txBody>
        </p:sp>
        <p:cxnSp>
          <p:nvCxnSpPr>
            <p:cNvPr id="37" name="36 Conector angular"/>
            <p:cNvCxnSpPr/>
            <p:nvPr/>
          </p:nvCxnSpPr>
          <p:spPr bwMode="auto">
            <a:xfrm rot="10800000">
              <a:off x="3058995" y="3279718"/>
              <a:ext cx="792240" cy="149158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737" name="38 CuadroTexto"/>
            <p:cNvSpPr txBox="1">
              <a:spLocks noChangeArrowheads="1"/>
            </p:cNvSpPr>
            <p:nvPr/>
          </p:nvSpPr>
          <p:spPr bwMode="auto">
            <a:xfrm>
              <a:off x="2843075" y="909061"/>
              <a:ext cx="677929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San Andrés 3</a:t>
              </a:r>
            </a:p>
          </p:txBody>
        </p:sp>
        <p:sp>
          <p:nvSpPr>
            <p:cNvPr id="29738" name="39 CuadroTexto"/>
            <p:cNvSpPr txBox="1">
              <a:spLocks noChangeArrowheads="1"/>
            </p:cNvSpPr>
            <p:nvPr/>
          </p:nvSpPr>
          <p:spPr bwMode="auto">
            <a:xfrm>
              <a:off x="5580191" y="1412071"/>
              <a:ext cx="925603" cy="64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Santander  49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Bucaramanga  50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Barrancabermeja 24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Floridablanc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0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Girón  4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Piedecuest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4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39" name="40 CuadroTexto"/>
            <p:cNvSpPr txBox="1">
              <a:spLocks noChangeArrowheads="1"/>
            </p:cNvSpPr>
            <p:nvPr/>
          </p:nvSpPr>
          <p:spPr bwMode="auto">
            <a:xfrm>
              <a:off x="4046517" y="2027744"/>
              <a:ext cx="628759" cy="276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Sucre 12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Sincelejo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6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40" name="41 CuadroTexto"/>
            <p:cNvSpPr txBox="1">
              <a:spLocks noChangeArrowheads="1"/>
            </p:cNvSpPr>
            <p:nvPr/>
          </p:nvSpPr>
          <p:spPr bwMode="auto">
            <a:xfrm>
              <a:off x="3779791" y="3584381"/>
              <a:ext cx="560442" cy="276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Tolim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45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Ibagué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6</a:t>
              </a:r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41" name="42 CuadroTexto"/>
            <p:cNvSpPr txBox="1">
              <a:spLocks noChangeArrowheads="1"/>
            </p:cNvSpPr>
            <p:nvPr/>
          </p:nvSpPr>
          <p:spPr bwMode="auto">
            <a:xfrm>
              <a:off x="2484265" y="3573273"/>
              <a:ext cx="827168" cy="82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Valle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47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Buga   21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Cali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65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Cartago 26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Palmira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39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Tuluá  32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Buenaventura  27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Jamundí   2</a:t>
              </a:r>
            </a:p>
          </p:txBody>
        </p:sp>
        <p:sp>
          <p:nvSpPr>
            <p:cNvPr id="29742" name="43 CuadroTexto"/>
            <p:cNvSpPr txBox="1">
              <a:spLocks noChangeArrowheads="1"/>
            </p:cNvSpPr>
            <p:nvPr/>
          </p:nvSpPr>
          <p:spPr bwMode="auto">
            <a:xfrm>
              <a:off x="5075317" y="2811616"/>
              <a:ext cx="512813" cy="1856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Arauca 8</a:t>
              </a:r>
            </a:p>
          </p:txBody>
        </p:sp>
        <p:sp>
          <p:nvSpPr>
            <p:cNvPr id="29743" name="44 CuadroTexto"/>
            <p:cNvSpPr txBox="1">
              <a:spLocks noChangeArrowheads="1"/>
            </p:cNvSpPr>
            <p:nvPr/>
          </p:nvSpPr>
          <p:spPr bwMode="auto">
            <a:xfrm>
              <a:off x="1834915" y="1845264"/>
              <a:ext cx="725557" cy="1015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 dirty="0">
                  <a:solidFill>
                    <a:srgbClr val="262673"/>
                  </a:solidFill>
                </a:rPr>
                <a:t>Antioquia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68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Apartado 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8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Bello        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6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Envigado 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21</a:t>
              </a:r>
              <a:r>
                <a:rPr lang="es-CO" sz="600" b="1" dirty="0">
                  <a:solidFill>
                    <a:srgbClr val="262673"/>
                  </a:solidFill>
                </a:rPr>
                <a:t/>
              </a:r>
              <a:br>
                <a:rPr lang="es-CO" sz="600" b="1" dirty="0">
                  <a:solidFill>
                    <a:srgbClr val="262673"/>
                  </a:solidFill>
                </a:rPr>
              </a:br>
              <a:r>
                <a:rPr lang="es-CO" sz="600" b="1" dirty="0">
                  <a:solidFill>
                    <a:srgbClr val="262673"/>
                  </a:solidFill>
                </a:rPr>
                <a:t>Itagüí           19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Medellín     </a:t>
              </a:r>
              <a:r>
                <a:rPr lang="es-CO" sz="600" b="1" dirty="0" smtClean="0">
                  <a:solidFill>
                    <a:srgbClr val="262673"/>
                  </a:solidFill>
                </a:rPr>
                <a:t>184</a:t>
              </a:r>
              <a:endParaRPr lang="es-CO" sz="600" b="1" dirty="0">
                <a:solidFill>
                  <a:srgbClr val="262673"/>
                </a:solidFill>
              </a:endParaRPr>
            </a:p>
            <a:p>
              <a:r>
                <a:rPr lang="es-CO" sz="600" b="1" dirty="0">
                  <a:solidFill>
                    <a:srgbClr val="262673"/>
                  </a:solidFill>
                </a:rPr>
                <a:t>Rionegro    15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Sabaneta    5</a:t>
              </a:r>
            </a:p>
            <a:p>
              <a:r>
                <a:rPr lang="es-CO" sz="600" b="1" dirty="0">
                  <a:solidFill>
                    <a:srgbClr val="262673"/>
                  </a:solidFill>
                </a:rPr>
                <a:t>Turbo          12</a:t>
              </a:r>
            </a:p>
            <a:p>
              <a:endParaRPr lang="es-CO" sz="600" b="1" dirty="0">
                <a:solidFill>
                  <a:srgbClr val="262673"/>
                </a:solidFill>
              </a:endParaRPr>
            </a:p>
          </p:txBody>
        </p:sp>
        <p:sp>
          <p:nvSpPr>
            <p:cNvPr id="29744" name="45 CuadroTexto"/>
            <p:cNvSpPr txBox="1">
              <a:spLocks noChangeArrowheads="1"/>
            </p:cNvSpPr>
            <p:nvPr/>
          </p:nvSpPr>
          <p:spPr bwMode="auto">
            <a:xfrm>
              <a:off x="4787952" y="5301283"/>
              <a:ext cx="676341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Amazonas  2</a:t>
              </a:r>
            </a:p>
          </p:txBody>
        </p:sp>
        <p:sp>
          <p:nvSpPr>
            <p:cNvPr id="29745" name="46 CuadroTexto"/>
            <p:cNvSpPr txBox="1">
              <a:spLocks noChangeArrowheads="1"/>
            </p:cNvSpPr>
            <p:nvPr/>
          </p:nvSpPr>
          <p:spPr bwMode="auto">
            <a:xfrm>
              <a:off x="5873907" y="3973143"/>
              <a:ext cx="530276" cy="1856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Guainía 0</a:t>
              </a:r>
            </a:p>
          </p:txBody>
        </p:sp>
        <p:sp>
          <p:nvSpPr>
            <p:cNvPr id="29746" name="47 CuadroTexto"/>
            <p:cNvSpPr txBox="1">
              <a:spLocks noChangeArrowheads="1"/>
            </p:cNvSpPr>
            <p:nvPr/>
          </p:nvSpPr>
          <p:spPr bwMode="auto">
            <a:xfrm>
              <a:off x="5724668" y="3357470"/>
              <a:ext cx="563617" cy="1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Vichada  0</a:t>
              </a:r>
            </a:p>
          </p:txBody>
        </p:sp>
        <p:sp>
          <p:nvSpPr>
            <p:cNvPr id="29747" name="48 CuadroTexto"/>
            <p:cNvSpPr txBox="1">
              <a:spLocks noChangeArrowheads="1"/>
            </p:cNvSpPr>
            <p:nvPr/>
          </p:nvSpPr>
          <p:spPr bwMode="auto">
            <a:xfrm>
              <a:off x="5219794" y="4580882"/>
              <a:ext cx="523926" cy="185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600" b="1">
                  <a:solidFill>
                    <a:srgbClr val="262673"/>
                  </a:solidFill>
                </a:rPr>
                <a:t>Vaupés 0</a:t>
              </a:r>
            </a:p>
          </p:txBody>
        </p:sp>
        <p:sp>
          <p:nvSpPr>
            <p:cNvPr id="51" name="50 Estrella de 5 puntas"/>
            <p:cNvSpPr/>
            <p:nvPr/>
          </p:nvSpPr>
          <p:spPr bwMode="auto">
            <a:xfrm>
              <a:off x="3797254" y="4292087"/>
              <a:ext cx="144476" cy="144397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3" name="52 Estrella de 5 puntas"/>
            <p:cNvSpPr/>
            <p:nvPr/>
          </p:nvSpPr>
          <p:spPr bwMode="auto">
            <a:xfrm>
              <a:off x="3779789" y="3500281"/>
              <a:ext cx="144477" cy="144398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5" name="54 Estrella de 5 puntas"/>
            <p:cNvSpPr/>
            <p:nvPr/>
          </p:nvSpPr>
          <p:spPr bwMode="auto">
            <a:xfrm>
              <a:off x="3994123" y="1664371"/>
              <a:ext cx="144476" cy="142811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6" name="55 Estrella de 5 puntas"/>
            <p:cNvSpPr/>
            <p:nvPr/>
          </p:nvSpPr>
          <p:spPr bwMode="auto">
            <a:xfrm>
              <a:off x="4284663" y="1772272"/>
              <a:ext cx="142889" cy="144397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7" name="56 Estrella de 5 puntas"/>
            <p:cNvSpPr/>
            <p:nvPr/>
          </p:nvSpPr>
          <p:spPr bwMode="auto">
            <a:xfrm>
              <a:off x="4356108" y="3284478"/>
              <a:ext cx="144476" cy="144398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8" name="57 Estrella de 5 puntas"/>
            <p:cNvSpPr/>
            <p:nvPr/>
          </p:nvSpPr>
          <p:spPr bwMode="auto">
            <a:xfrm>
              <a:off x="4098908" y="1524734"/>
              <a:ext cx="144476" cy="144397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9" name="58 Estrella de 5 puntas"/>
            <p:cNvSpPr/>
            <p:nvPr/>
          </p:nvSpPr>
          <p:spPr bwMode="auto">
            <a:xfrm>
              <a:off x="5580188" y="2852872"/>
              <a:ext cx="144477" cy="144398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0" name="59 Estrella de 5 puntas"/>
            <p:cNvSpPr/>
            <p:nvPr/>
          </p:nvSpPr>
          <p:spPr bwMode="auto">
            <a:xfrm>
              <a:off x="4027463" y="3509802"/>
              <a:ext cx="144477" cy="144398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3" name="62 Estrella de 5 puntas"/>
            <p:cNvSpPr/>
            <p:nvPr/>
          </p:nvSpPr>
          <p:spPr bwMode="auto">
            <a:xfrm>
              <a:off x="3851234" y="2781468"/>
              <a:ext cx="144476" cy="142811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4" name="63 Estrella de 5 puntas"/>
            <p:cNvSpPr/>
            <p:nvPr/>
          </p:nvSpPr>
          <p:spPr bwMode="auto">
            <a:xfrm>
              <a:off x="3652777" y="3727192"/>
              <a:ext cx="144477" cy="144397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5" name="64 Estrella de 5 puntas"/>
            <p:cNvSpPr/>
            <p:nvPr/>
          </p:nvSpPr>
          <p:spPr bwMode="auto">
            <a:xfrm>
              <a:off x="4572029" y="2790988"/>
              <a:ext cx="144476" cy="144397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8" name="67 Estrella de 5 puntas"/>
            <p:cNvSpPr/>
            <p:nvPr/>
          </p:nvSpPr>
          <p:spPr bwMode="auto">
            <a:xfrm>
              <a:off x="3779789" y="3357470"/>
              <a:ext cx="144477" cy="142811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cxnSp>
          <p:nvCxnSpPr>
            <p:cNvPr id="29760" name="72 Conector angular"/>
            <p:cNvCxnSpPr>
              <a:cxnSpLocks noChangeShapeType="1"/>
            </p:cNvCxnSpPr>
            <p:nvPr/>
          </p:nvCxnSpPr>
          <p:spPr bwMode="auto">
            <a:xfrm rot="10800000">
              <a:off x="2483768" y="2276872"/>
              <a:ext cx="1368152" cy="504056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61" name="75 Forma"/>
            <p:cNvCxnSpPr>
              <a:cxnSpLocks noChangeShapeType="1"/>
            </p:cNvCxnSpPr>
            <p:nvPr/>
          </p:nvCxnSpPr>
          <p:spPr bwMode="auto">
            <a:xfrm rot="5400000" flipH="1" flipV="1">
              <a:off x="4589563" y="1790389"/>
              <a:ext cx="1044995" cy="936103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62" name="77 Conector angular"/>
            <p:cNvCxnSpPr>
              <a:cxnSpLocks noChangeShapeType="1"/>
            </p:cNvCxnSpPr>
            <p:nvPr/>
          </p:nvCxnSpPr>
          <p:spPr bwMode="auto">
            <a:xfrm>
              <a:off x="4716016" y="3284984"/>
              <a:ext cx="1789777" cy="86817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63" name="79 Conector angular"/>
            <p:cNvCxnSpPr>
              <a:cxnSpLocks noChangeShapeType="1"/>
            </p:cNvCxnSpPr>
            <p:nvPr/>
          </p:nvCxnSpPr>
          <p:spPr bwMode="auto">
            <a:xfrm rot="10800000">
              <a:off x="2987824" y="3861048"/>
              <a:ext cx="648072" cy="1588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64" name="83 Conector angular"/>
            <p:cNvCxnSpPr>
              <a:cxnSpLocks noChangeShapeType="1"/>
            </p:cNvCxnSpPr>
            <p:nvPr/>
          </p:nvCxnSpPr>
          <p:spPr bwMode="auto">
            <a:xfrm rot="10800000">
              <a:off x="3738901" y="1844824"/>
              <a:ext cx="360040" cy="1588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61" name="60 Estrella de 5 puntas"/>
            <p:cNvSpPr/>
            <p:nvPr/>
          </p:nvSpPr>
          <p:spPr bwMode="auto">
            <a:xfrm>
              <a:off x="-510447" y="3179527"/>
              <a:ext cx="144477" cy="144397"/>
            </a:xfrm>
            <a:prstGeom prst="star5">
              <a:avLst/>
            </a:prstGeom>
            <a:solidFill>
              <a:srgbClr val="00CC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CO" sz="2400" b="1" dirty="0">
                <a:solidFill>
                  <a:srgbClr val="000000"/>
                </a:solidFill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62" name="61 CuadroTexto"/>
          <p:cNvSpPr txBox="1"/>
          <p:nvPr/>
        </p:nvSpPr>
        <p:spPr>
          <a:xfrm>
            <a:off x="5664839" y="404664"/>
            <a:ext cx="3479161" cy="830997"/>
          </a:xfrm>
          <a:prstGeom prst="rect">
            <a:avLst/>
          </a:prstGeom>
          <a:solidFill>
            <a:srgbClr val="80000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s-CO" b="1" dirty="0">
                <a:solidFill>
                  <a:schemeClr val="bg1"/>
                </a:solidFill>
                <a:latin typeface="Arial MT"/>
              </a:rPr>
              <a:t>Cobertura a nivel </a:t>
            </a:r>
            <a:r>
              <a:rPr lang="es-CO" b="1" dirty="0" smtClean="0">
                <a:solidFill>
                  <a:schemeClr val="bg1"/>
                </a:solidFill>
                <a:latin typeface="Arial MT"/>
              </a:rPr>
              <a:t>Nacional ETDH</a:t>
            </a:r>
            <a:endParaRPr lang="es-ES" b="1" dirty="0">
              <a:solidFill>
                <a:schemeClr val="bg1"/>
              </a:solidFill>
              <a:latin typeface="Arial MT"/>
            </a:endParaRPr>
          </a:p>
        </p:txBody>
      </p:sp>
      <p:sp>
        <p:nvSpPr>
          <p:cNvPr id="66" name="65 Estrella de 5 puntas"/>
          <p:cNvSpPr/>
          <p:nvPr/>
        </p:nvSpPr>
        <p:spPr bwMode="auto">
          <a:xfrm>
            <a:off x="5364088" y="2782069"/>
            <a:ext cx="144463" cy="142875"/>
          </a:xfrm>
          <a:prstGeom prst="star5">
            <a:avLst/>
          </a:prstGeom>
          <a:solidFill>
            <a:srgbClr val="00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s-CO" sz="2400" b="1" dirty="0">
              <a:solidFill>
                <a:srgbClr val="000000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67" name="66 Estrella de 5 puntas"/>
          <p:cNvSpPr/>
          <p:nvPr/>
        </p:nvSpPr>
        <p:spPr bwMode="auto">
          <a:xfrm>
            <a:off x="6084888" y="2205038"/>
            <a:ext cx="142875" cy="144462"/>
          </a:xfrm>
          <a:prstGeom prst="star5">
            <a:avLst/>
          </a:prstGeom>
          <a:solidFill>
            <a:srgbClr val="00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s-CO" sz="2400" b="1" dirty="0">
              <a:solidFill>
                <a:srgbClr val="000000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468338" y="1758453"/>
            <a:ext cx="2303462" cy="1169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s-CO" sz="14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173  CON  </a:t>
            </a:r>
          </a:p>
          <a:p>
            <a:pPr algn="ctr" eaLnBrk="0" hangingPunct="0">
              <a:defRPr/>
            </a:pPr>
            <a:r>
              <a:rPr lang="es-CO" sz="14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CERTIFICACION DE CALIDAD</a:t>
            </a:r>
          </a:p>
          <a:p>
            <a:pPr algn="ctr" eaLnBrk="0" hangingPunct="0">
              <a:defRPr/>
            </a:pPr>
            <a:r>
              <a:rPr lang="es-CO" sz="14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LINEA BASE 2585</a:t>
            </a:r>
          </a:p>
          <a:p>
            <a:pPr algn="ctr" eaLnBrk="0" hangingPunct="0">
              <a:defRPr/>
            </a:pPr>
            <a:r>
              <a:rPr lang="es-CO" sz="14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META 20%</a:t>
            </a:r>
            <a:endParaRPr lang="es-CO" sz="1400" b="1" dirty="0" smtClean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s-CO" sz="1400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EJECUCION  6.7%</a:t>
            </a:r>
            <a:endParaRPr lang="es-CO" sz="1400" b="1" dirty="0">
              <a:solidFill>
                <a:srgbClr val="C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9706" name="3 CuadroTexto"/>
          <p:cNvSpPr txBox="1">
            <a:spLocks noChangeArrowheads="1"/>
          </p:cNvSpPr>
          <p:nvPr/>
        </p:nvSpPr>
        <p:spPr bwMode="auto">
          <a:xfrm>
            <a:off x="395702" y="1340768"/>
            <a:ext cx="244810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dirty="0" smtClean="0">
                <a:solidFill>
                  <a:srgbClr val="000000"/>
                </a:solidFill>
                <a:latin typeface="Arial Narrow" pitchFamily="34" charset="0"/>
              </a:rPr>
              <a:t>3.188</a:t>
            </a:r>
            <a:r>
              <a:rPr lang="es-CO" sz="2400" b="1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s-CO" sz="2400" b="1" dirty="0">
                <a:solidFill>
                  <a:srgbClr val="000000"/>
                </a:solidFill>
                <a:latin typeface="Arial Narrow" pitchFamily="34" charset="0"/>
              </a:rPr>
              <a:t>Instituciones</a:t>
            </a:r>
          </a:p>
        </p:txBody>
      </p:sp>
      <p:sp>
        <p:nvSpPr>
          <p:cNvPr id="29707" name="3 CuadroTexto"/>
          <p:cNvSpPr txBox="1">
            <a:spLocks noChangeArrowheads="1"/>
          </p:cNvSpPr>
          <p:nvPr/>
        </p:nvSpPr>
        <p:spPr bwMode="auto">
          <a:xfrm>
            <a:off x="467544" y="6423139"/>
            <a:ext cx="2170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sz="1000" b="1" dirty="0">
                <a:solidFill>
                  <a:schemeClr val="bg1"/>
                </a:solidFill>
              </a:rPr>
              <a:t>Fuente: SIET </a:t>
            </a:r>
            <a:r>
              <a:rPr lang="es-CO" sz="1000" dirty="0" smtClean="0">
                <a:solidFill>
                  <a:schemeClr val="bg1"/>
                </a:solidFill>
              </a:rPr>
              <a:t>Octubre </a:t>
            </a:r>
            <a:r>
              <a:rPr lang="es-CO" sz="1000" b="1" dirty="0" smtClean="0">
                <a:solidFill>
                  <a:schemeClr val="bg1"/>
                </a:solidFill>
              </a:rPr>
              <a:t>30</a:t>
            </a:r>
            <a:r>
              <a:rPr lang="es-CO" sz="1000" dirty="0" smtClean="0">
                <a:solidFill>
                  <a:schemeClr val="bg1"/>
                </a:solidFill>
              </a:rPr>
              <a:t> de </a:t>
            </a:r>
            <a:r>
              <a:rPr lang="es-CO" sz="1000" b="1" dirty="0" smtClean="0">
                <a:solidFill>
                  <a:schemeClr val="bg1"/>
                </a:solidFill>
              </a:rPr>
              <a:t>2013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8511158" y="6167438"/>
            <a:ext cx="741362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69" name="68 Estrella de 5 puntas"/>
          <p:cNvSpPr/>
          <p:nvPr/>
        </p:nvSpPr>
        <p:spPr bwMode="auto">
          <a:xfrm>
            <a:off x="5940152" y="4436665"/>
            <a:ext cx="144463" cy="144463"/>
          </a:xfrm>
          <a:prstGeom prst="star5">
            <a:avLst/>
          </a:prstGeom>
          <a:solidFill>
            <a:srgbClr val="00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s-CO" sz="2400" b="1" dirty="0">
              <a:solidFill>
                <a:srgbClr val="000000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70" name="69 Estrella de 5 puntas"/>
          <p:cNvSpPr/>
          <p:nvPr/>
        </p:nvSpPr>
        <p:spPr bwMode="auto">
          <a:xfrm>
            <a:off x="5003602" y="4724698"/>
            <a:ext cx="144462" cy="144462"/>
          </a:xfrm>
          <a:prstGeom prst="star5">
            <a:avLst/>
          </a:prstGeom>
          <a:solidFill>
            <a:srgbClr val="00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s-CO" sz="2400" b="1" dirty="0">
              <a:solidFill>
                <a:srgbClr val="000000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71" name="3 CuadroTexto"/>
          <p:cNvSpPr txBox="1">
            <a:spLocks noChangeArrowheads="1"/>
          </p:cNvSpPr>
          <p:nvPr/>
        </p:nvSpPr>
        <p:spPr bwMode="auto">
          <a:xfrm>
            <a:off x="405232" y="3140968"/>
            <a:ext cx="235032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sz="2400" b="1" dirty="0" smtClean="0">
                <a:solidFill>
                  <a:srgbClr val="000000"/>
                </a:solidFill>
                <a:latin typeface="Arial Narrow" pitchFamily="34" charset="0"/>
              </a:rPr>
              <a:t>15.830 Programas</a:t>
            </a:r>
            <a:endParaRPr lang="es-CO" sz="24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467544" y="3535536"/>
            <a:ext cx="2303462" cy="1169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s-CO" sz="14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747</a:t>
            </a:r>
            <a:r>
              <a:rPr lang="es-CO" sz="14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  CON </a:t>
            </a:r>
          </a:p>
          <a:p>
            <a:pPr algn="ctr" eaLnBrk="0" hangingPunct="0">
              <a:defRPr/>
            </a:pPr>
            <a:r>
              <a:rPr lang="es-CO" sz="14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CERTIFICACION </a:t>
            </a:r>
            <a:r>
              <a:rPr lang="es-CO" sz="14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E </a:t>
            </a:r>
            <a:r>
              <a:rPr lang="es-CO" sz="14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CALIDAD</a:t>
            </a:r>
          </a:p>
          <a:p>
            <a:pPr algn="ctr" eaLnBrk="0" hangingPunct="0">
              <a:defRPr/>
            </a:pPr>
            <a:r>
              <a:rPr lang="es-CO" sz="14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LINEA BASE 7801</a:t>
            </a:r>
          </a:p>
          <a:p>
            <a:pPr algn="ctr" eaLnBrk="0" hangingPunct="0">
              <a:defRPr/>
            </a:pPr>
            <a:r>
              <a:rPr lang="es-CO" sz="14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META 15%</a:t>
            </a:r>
          </a:p>
          <a:p>
            <a:pPr algn="ctr" eaLnBrk="0" hangingPunct="0">
              <a:defRPr/>
            </a:pPr>
            <a:r>
              <a:rPr lang="es-CO" sz="1400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EJECUCION  6.62%</a:t>
            </a:r>
            <a:endParaRPr lang="es-CO" sz="1400" dirty="0">
              <a:solidFill>
                <a:srgbClr val="C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73" name="72 Estrella de 5 puntas"/>
          <p:cNvSpPr/>
          <p:nvPr/>
        </p:nvSpPr>
        <p:spPr bwMode="auto">
          <a:xfrm>
            <a:off x="1043161" y="1844378"/>
            <a:ext cx="144463" cy="144462"/>
          </a:xfrm>
          <a:prstGeom prst="star5">
            <a:avLst/>
          </a:prstGeom>
          <a:solidFill>
            <a:srgbClr val="00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s-CO" sz="2400" b="1" dirty="0">
              <a:solidFill>
                <a:srgbClr val="000000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75" name="74 CuadroTexto"/>
          <p:cNvSpPr txBox="1"/>
          <p:nvPr/>
        </p:nvSpPr>
        <p:spPr>
          <a:xfrm>
            <a:off x="-36512" y="4984140"/>
            <a:ext cx="33123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 smtClean="0">
                <a:solidFill>
                  <a:srgbClr val="C00000"/>
                </a:solidFill>
                <a:latin typeface="Arial Narrow" pitchFamily="34" charset="0"/>
              </a:rPr>
              <a:t>Matriculados 2012 </a:t>
            </a:r>
            <a:r>
              <a:rPr lang="es-ES_tradnl" sz="2000" dirty="0" smtClean="0">
                <a:latin typeface="Arial Narrow" pitchFamily="34" charset="0"/>
              </a:rPr>
              <a:t> </a:t>
            </a:r>
            <a:endParaRPr lang="es-ES_tradnl" sz="1400" dirty="0" smtClean="0"/>
          </a:p>
          <a:p>
            <a:pPr algn="ctr"/>
            <a:r>
              <a:rPr lang="es-ES_tradnl" sz="1800" dirty="0" smtClean="0">
                <a:solidFill>
                  <a:srgbClr val="C00000"/>
                </a:solidFill>
              </a:rPr>
              <a:t>1.110.000</a:t>
            </a:r>
          </a:p>
        </p:txBody>
      </p:sp>
      <p:sp>
        <p:nvSpPr>
          <p:cNvPr id="74" name="3 CuadroTexto"/>
          <p:cNvSpPr txBox="1">
            <a:spLocks noChangeArrowheads="1"/>
          </p:cNvSpPr>
          <p:nvPr/>
        </p:nvSpPr>
        <p:spPr bwMode="auto">
          <a:xfrm>
            <a:off x="842969" y="5607307"/>
            <a:ext cx="15135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sz="1800" b="1" dirty="0" smtClean="0">
                <a:solidFill>
                  <a:srgbClr val="000000"/>
                </a:solidFill>
                <a:latin typeface="Arial Narrow" pitchFamily="34" charset="0"/>
              </a:rPr>
              <a:t>SENA: 700.000</a:t>
            </a:r>
            <a:endParaRPr lang="es-CO" sz="18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6" name="3 CuadroTexto"/>
          <p:cNvSpPr txBox="1">
            <a:spLocks noChangeArrowheads="1"/>
          </p:cNvSpPr>
          <p:nvPr/>
        </p:nvSpPr>
        <p:spPr bwMode="auto">
          <a:xfrm>
            <a:off x="794009" y="5867980"/>
            <a:ext cx="161775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sz="1800" b="1" dirty="0" smtClean="0">
                <a:solidFill>
                  <a:srgbClr val="000000"/>
                </a:solidFill>
                <a:latin typeface="Arial Narrow" pitchFamily="34" charset="0"/>
              </a:rPr>
              <a:t>EFTDH: 400.000</a:t>
            </a:r>
            <a:endParaRPr lang="es-CO" sz="18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37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3 Imagen" descr="http://3.bp.blogspot.com/-8y_tpr92ezU/TbcD355Tz-I/AAAAAAAAAAM/xvr4ZY2GmcI/s1600/fgdjhngkjhk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6540" y="1815993"/>
            <a:ext cx="3641404" cy="442129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6" name="8 CuadroTexto"/>
          <p:cNvSpPr txBox="1">
            <a:spLocks noChangeArrowheads="1"/>
          </p:cNvSpPr>
          <p:nvPr/>
        </p:nvSpPr>
        <p:spPr bwMode="auto">
          <a:xfrm>
            <a:off x="1475656" y="2740858"/>
            <a:ext cx="6976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2000" dirty="0" smtClean="0">
                <a:effectLst/>
              </a:rPr>
              <a:t>18%</a:t>
            </a:r>
            <a:endParaRPr lang="es-CO" dirty="0"/>
          </a:p>
        </p:txBody>
      </p:sp>
      <p:sp>
        <p:nvSpPr>
          <p:cNvPr id="43017" name="11 CuadroTexto"/>
          <p:cNvSpPr txBox="1">
            <a:spLocks noChangeArrowheads="1"/>
          </p:cNvSpPr>
          <p:nvPr/>
        </p:nvSpPr>
        <p:spPr bwMode="auto">
          <a:xfrm>
            <a:off x="1547664" y="3761105"/>
            <a:ext cx="6976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2000" dirty="0" smtClean="0">
                <a:effectLst/>
              </a:rPr>
              <a:t>56%</a:t>
            </a:r>
            <a:endParaRPr lang="es-CO" dirty="0"/>
          </a:p>
        </p:txBody>
      </p:sp>
      <p:sp>
        <p:nvSpPr>
          <p:cNvPr id="43018" name="12 CuadroTexto"/>
          <p:cNvSpPr txBox="1">
            <a:spLocks noChangeArrowheads="1"/>
          </p:cNvSpPr>
          <p:nvPr/>
        </p:nvSpPr>
        <p:spPr bwMode="auto">
          <a:xfrm>
            <a:off x="755576" y="3284984"/>
            <a:ext cx="71686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endParaRPr lang="es-CO" sz="2000" dirty="0" smtClean="0"/>
          </a:p>
          <a:p>
            <a:pPr algn="ctr"/>
            <a:endParaRPr lang="es-CO" sz="2000" dirty="0" smtClean="0"/>
          </a:p>
          <a:p>
            <a:pPr algn="ctr"/>
            <a:r>
              <a:rPr lang="es-CO" sz="2000" dirty="0" smtClean="0">
                <a:effectLst/>
              </a:rPr>
              <a:t>18%</a:t>
            </a:r>
            <a:endParaRPr lang="es-CO" sz="2000" dirty="0" smtClean="0">
              <a:effectLst/>
              <a:latin typeface="Calibri"/>
              <a:ea typeface="Calibri"/>
              <a:cs typeface="Times New Roman"/>
            </a:endParaRPr>
          </a:p>
          <a:p>
            <a:endParaRPr lang="es-CO" dirty="0"/>
          </a:p>
        </p:txBody>
      </p:sp>
      <p:sp>
        <p:nvSpPr>
          <p:cNvPr id="13" name="13 CuadroTexto"/>
          <p:cNvSpPr txBox="1">
            <a:spLocks noChangeArrowheads="1"/>
          </p:cNvSpPr>
          <p:nvPr/>
        </p:nvSpPr>
        <p:spPr bwMode="auto">
          <a:xfrm>
            <a:off x="2339752" y="4325034"/>
            <a:ext cx="55496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s-CO" sz="2000" dirty="0" smtClean="0"/>
              <a:t>8%</a:t>
            </a:r>
            <a:endParaRPr lang="es-CO" sz="2000" dirty="0"/>
          </a:p>
        </p:txBody>
      </p:sp>
      <p:sp>
        <p:nvSpPr>
          <p:cNvPr id="2" name="1 CuadroTexto"/>
          <p:cNvSpPr txBox="1"/>
          <p:nvPr/>
        </p:nvSpPr>
        <p:spPr>
          <a:xfrm>
            <a:off x="1187624" y="1124744"/>
            <a:ext cx="6504601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2000" dirty="0">
                <a:solidFill>
                  <a:srgbClr val="800000"/>
                </a:solidFill>
              </a:rPr>
              <a:t>PARTICIPACIÓN REGIONES </a:t>
            </a:r>
            <a:r>
              <a:rPr lang="es-CO" sz="2000" dirty="0" smtClean="0">
                <a:solidFill>
                  <a:srgbClr val="800000"/>
                </a:solidFill>
              </a:rPr>
              <a:t>Y AREAS DESEMPEÑO</a:t>
            </a:r>
            <a:endParaRPr lang="es-CO" sz="2000" dirty="0">
              <a:solidFill>
                <a:srgbClr val="800000"/>
              </a:solidFill>
            </a:endParaRPr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colorTemperature colorTemp="88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988840"/>
            <a:ext cx="3744416" cy="39604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628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Rectángulo redondeado"/>
          <p:cNvSpPr/>
          <p:nvPr/>
        </p:nvSpPr>
        <p:spPr bwMode="auto">
          <a:xfrm>
            <a:off x="244475" y="4659313"/>
            <a:ext cx="3189288" cy="19954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22 Rectángulo redondeado"/>
          <p:cNvSpPr/>
          <p:nvPr/>
        </p:nvSpPr>
        <p:spPr>
          <a:xfrm>
            <a:off x="190500" y="4509120"/>
            <a:ext cx="8901113" cy="220503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500"/>
              </a:lnSpc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23 Rectángulo redondeado"/>
          <p:cNvSpPr/>
          <p:nvPr/>
        </p:nvSpPr>
        <p:spPr>
          <a:xfrm>
            <a:off x="134938" y="3356992"/>
            <a:ext cx="8901112" cy="1128713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500"/>
              </a:lnSpc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24 Rectángulo redondeado"/>
          <p:cNvSpPr/>
          <p:nvPr/>
        </p:nvSpPr>
        <p:spPr>
          <a:xfrm>
            <a:off x="134938" y="1700808"/>
            <a:ext cx="8901112" cy="162083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500"/>
              </a:lnSpc>
              <a:defRPr/>
            </a:pPr>
            <a:r>
              <a:rPr lang="es-CO" sz="1400" b="1" dirty="0">
                <a:latin typeface="Arial" pitchFamily="34" charset="0"/>
                <a:cs typeface="Arial" pitchFamily="34" charset="0"/>
              </a:rPr>
              <a:t>. Más Inclusión Social</a:t>
            </a:r>
          </a:p>
          <a:p>
            <a:pPr algn="ctr">
              <a:lnSpc>
                <a:spcPts val="1500"/>
              </a:lnSpc>
              <a:defRPr/>
            </a:pPr>
            <a:endParaRPr lang="es-CO" sz="4800" dirty="0">
              <a:latin typeface="Arial" pitchFamily="34" charset="0"/>
              <a:cs typeface="Arial" pitchFamily="34" charset="0"/>
            </a:endParaRPr>
          </a:p>
          <a:p>
            <a:pPr marL="342900" lvl="1" indent="-342900">
              <a:lnSpc>
                <a:spcPts val="1800"/>
              </a:lnSpc>
              <a:buFont typeface="Calibri" pitchFamily="34" charset="0"/>
              <a:buAutoNum type="alphaLcPeriod"/>
              <a:defRPr/>
            </a:pPr>
            <a:r>
              <a:rPr lang="es-CO" sz="1400" dirty="0">
                <a:latin typeface="Arial" pitchFamily="34" charset="0"/>
                <a:cs typeface="Arial" pitchFamily="34" charset="0"/>
              </a:rPr>
              <a:t>Formación Profesional </a:t>
            </a:r>
          </a:p>
          <a:p>
            <a:pPr marL="342900" lvl="1" indent="-342900">
              <a:lnSpc>
                <a:spcPts val="1800"/>
              </a:lnSpc>
              <a:buFont typeface="Calibri" pitchFamily="34" charset="0"/>
              <a:buAutoNum type="alphaLcPeriod"/>
              <a:defRPr/>
            </a:pPr>
            <a:r>
              <a:rPr lang="es-CO" sz="1400" dirty="0">
                <a:latin typeface="Arial" pitchFamily="34" charset="0"/>
                <a:cs typeface="Arial" pitchFamily="34" charset="0"/>
              </a:rPr>
              <a:t>Oportunidades Laborales</a:t>
            </a:r>
          </a:p>
        </p:txBody>
      </p:sp>
      <p:sp>
        <p:nvSpPr>
          <p:cNvPr id="27" name="26 Rectángulo redondeado"/>
          <p:cNvSpPr/>
          <p:nvPr/>
        </p:nvSpPr>
        <p:spPr bwMode="auto">
          <a:xfrm>
            <a:off x="3560763" y="4653136"/>
            <a:ext cx="3189287" cy="2047875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27 Rectángulo redondeado"/>
          <p:cNvSpPr/>
          <p:nvPr/>
        </p:nvSpPr>
        <p:spPr bwMode="auto">
          <a:xfrm>
            <a:off x="251668" y="1772816"/>
            <a:ext cx="3024188" cy="1476375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26 CuadroTexto">
            <a:hlinkClick r:id="rId3" action="ppaction://hlinksldjump"/>
          </p:cNvPr>
          <p:cNvSpPr txBox="1">
            <a:spLocks noChangeArrowheads="1"/>
          </p:cNvSpPr>
          <p:nvPr/>
        </p:nvSpPr>
        <p:spPr bwMode="auto">
          <a:xfrm>
            <a:off x="395536" y="1772816"/>
            <a:ext cx="2568575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buAutoNum type="arabicPeriod"/>
              <a:defRPr/>
            </a:pPr>
            <a:r>
              <a:rPr lang="es-CO" sz="1400" dirty="0" smtClean="0">
                <a:solidFill>
                  <a:srgbClr val="800000"/>
                </a:solidFill>
                <a:cs typeface="Arial"/>
              </a:rPr>
              <a:t>Consolidar </a:t>
            </a:r>
            <a:r>
              <a:rPr lang="es-CO" sz="1400" dirty="0">
                <a:solidFill>
                  <a:srgbClr val="800000"/>
                </a:solidFill>
                <a:cs typeface="Arial"/>
              </a:rPr>
              <a:t>el sistema de aseguramiento y fomento de la calidad </a:t>
            </a:r>
            <a:r>
              <a:rPr lang="es-CO" sz="1400" dirty="0" smtClean="0">
                <a:solidFill>
                  <a:srgbClr val="800000"/>
                </a:solidFill>
                <a:cs typeface="Arial"/>
              </a:rPr>
              <a:t>de la FTDH</a:t>
            </a:r>
          </a:p>
          <a:p>
            <a:pPr lvl="0"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. Implementación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lo de Aseguramiento de Calidad</a:t>
            </a:r>
          </a:p>
          <a:p>
            <a:pPr marL="342900" indent="-342900" algn="ctr">
              <a:buAutoNum type="arabicPeriod"/>
              <a:defRPr/>
            </a:pPr>
            <a:endParaRPr lang="es-CO" sz="1400" dirty="0">
              <a:cs typeface="Arial"/>
            </a:endParaRPr>
          </a:p>
        </p:txBody>
      </p:sp>
      <p:sp>
        <p:nvSpPr>
          <p:cNvPr id="30" name="29 Rectángulo redondeado"/>
          <p:cNvSpPr/>
          <p:nvPr/>
        </p:nvSpPr>
        <p:spPr bwMode="auto">
          <a:xfrm>
            <a:off x="3557588" y="3356992"/>
            <a:ext cx="3124200" cy="1082734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30 Rectángulo redondeado"/>
          <p:cNvSpPr/>
          <p:nvPr/>
        </p:nvSpPr>
        <p:spPr bwMode="auto">
          <a:xfrm>
            <a:off x="251520" y="3356992"/>
            <a:ext cx="3135313" cy="1125811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31 Rectángulo redondeado"/>
          <p:cNvSpPr/>
          <p:nvPr/>
        </p:nvSpPr>
        <p:spPr bwMode="auto">
          <a:xfrm>
            <a:off x="3644900" y="1772816"/>
            <a:ext cx="3036888" cy="1540297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70" name="52 CuadroTexto">
            <a:hlinkClick r:id="rId4" action="ppaction://hlinksldjump"/>
          </p:cNvPr>
          <p:cNvSpPr txBox="1">
            <a:spLocks noChangeArrowheads="1"/>
          </p:cNvSpPr>
          <p:nvPr/>
        </p:nvSpPr>
        <p:spPr bwMode="auto">
          <a:xfrm>
            <a:off x="3707904" y="1844824"/>
            <a:ext cx="2851150" cy="1438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500"/>
              </a:lnSpc>
            </a:pPr>
            <a:r>
              <a:rPr lang="es-CO" sz="1400" b="1" dirty="0">
                <a:solidFill>
                  <a:srgbClr val="800000"/>
                </a:solidFill>
                <a:cs typeface="Arial" charset="0"/>
              </a:rPr>
              <a:t>2. </a:t>
            </a:r>
            <a:r>
              <a:rPr lang="es-CO" sz="1400" b="1" dirty="0" smtClean="0">
                <a:solidFill>
                  <a:srgbClr val="800000"/>
                </a:solidFill>
                <a:cs typeface="Arial" charset="0"/>
              </a:rPr>
              <a:t>Fomentar innovación y pertinencia  de la FTDH</a:t>
            </a:r>
          </a:p>
          <a:p>
            <a:pPr algn="ctr" eaLnBrk="1" hangingPunct="1">
              <a:lnSpc>
                <a:spcPts val="1500"/>
              </a:lnSpc>
            </a:pPr>
            <a:endParaRPr lang="es-CO" sz="1400" b="1" dirty="0" smtClean="0">
              <a:cs typeface="Arial" charset="0"/>
            </a:endParaRPr>
          </a:p>
          <a:p>
            <a:pPr eaLnBrk="1" hangingPunct="1">
              <a:lnSpc>
                <a:spcPts val="1500"/>
              </a:lnSpc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. Acciones CONPES 3674</a:t>
            </a:r>
          </a:p>
          <a:p>
            <a:pPr eaLnBrk="1" hangingPunct="1">
              <a:lnSpc>
                <a:spcPts val="1500"/>
              </a:lnSpc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. Marco </a:t>
            </a:r>
            <a:r>
              <a: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N</a:t>
            </a:r>
            <a:r>
              <a:rPr lang="es-CO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l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de Cualificaciones FT</a:t>
            </a:r>
          </a:p>
          <a:p>
            <a:pPr eaLnBrk="1" hangingPunct="1">
              <a:lnSpc>
                <a:spcPts val="1500"/>
              </a:lnSpc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c. Lengua extranjera  e internacionalización</a:t>
            </a:r>
            <a:endParaRPr lang="es-CO" sz="1200" dirty="0">
              <a:solidFill>
                <a:srgbClr val="C00000"/>
              </a:solidFill>
              <a:cs typeface="Arial"/>
            </a:endParaRPr>
          </a:p>
        </p:txBody>
      </p:sp>
      <p:sp>
        <p:nvSpPr>
          <p:cNvPr id="35" name="27 CuadroTexto">
            <a:hlinkClick r:id="rId5" action="ppaction://hlinksldjump"/>
          </p:cNvPr>
          <p:cNvSpPr txBox="1">
            <a:spLocks noChangeArrowheads="1"/>
          </p:cNvSpPr>
          <p:nvPr/>
        </p:nvSpPr>
        <p:spPr bwMode="auto">
          <a:xfrm>
            <a:off x="3575050" y="4781550"/>
            <a:ext cx="3322638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>
              <a:defRPr/>
            </a:pPr>
            <a:r>
              <a:rPr lang="es-ES" sz="1400" b="1" dirty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6. Fortalecimiento Institucional</a:t>
            </a:r>
          </a:p>
          <a:p>
            <a:pPr marL="0" lvl="1">
              <a:defRPr/>
            </a:pPr>
            <a:endParaRPr lang="es-ES" sz="800" b="1" dirty="0">
              <a:latin typeface="Arial" pitchFamily="34" charset="0"/>
              <a:cs typeface="Arial" pitchFamily="34" charset="0"/>
            </a:endParaRPr>
          </a:p>
          <a:p>
            <a:pPr marL="342900" lvl="1" indent="-342900">
              <a:buFontTx/>
              <a:buAutoNum type="alphaLcPeriod"/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Fortalecer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el modelo de gestión por 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procesos.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  <a:p>
            <a:pPr marL="0" lvl="1"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b.     Fortalecer  sistema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de 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información   SIET y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promover su uso</a:t>
            </a:r>
          </a:p>
          <a:p>
            <a:pPr marL="342900" lvl="1" indent="-342900">
              <a:buFontTx/>
              <a:buAutoNum type="alphaLcPeriod" startAt="3"/>
              <a:defRPr/>
            </a:pPr>
            <a:r>
              <a:rPr lang="es-E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Lucida Grande"/>
                <a:cs typeface="Arial"/>
              </a:rPr>
              <a:t>Garantizar la distribución equitativa, el seguimiento y el control a los recursos </a:t>
            </a: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Lucida Grande"/>
                <a:cs typeface="Arial"/>
              </a:rPr>
              <a:t>de FTDH</a:t>
            </a:r>
            <a:endParaRPr lang="es-CO" sz="1200" dirty="0" smtClean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</p:txBody>
      </p:sp>
      <p:sp>
        <p:nvSpPr>
          <p:cNvPr id="19472" name="35 Rectángulo">
            <a:hlinkClick r:id="rId6" action="ppaction://hlinksldjump"/>
          </p:cNvPr>
          <p:cNvSpPr>
            <a:spLocks noChangeArrowheads="1"/>
          </p:cNvSpPr>
          <p:nvPr/>
        </p:nvSpPr>
        <p:spPr bwMode="auto">
          <a:xfrm>
            <a:off x="251520" y="3429000"/>
            <a:ext cx="310604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s-CO" sz="1400" b="1" dirty="0" smtClean="0">
                <a:solidFill>
                  <a:srgbClr val="800000"/>
                </a:solidFill>
                <a:cs typeface="Arial" charset="0"/>
              </a:rPr>
              <a:t>3</a:t>
            </a:r>
            <a:r>
              <a:rPr lang="es-CO" sz="1400" b="1" dirty="0">
                <a:solidFill>
                  <a:srgbClr val="800000"/>
                </a:solidFill>
                <a:cs typeface="Arial" charset="0"/>
              </a:rPr>
              <a:t>. </a:t>
            </a:r>
            <a:r>
              <a:rPr lang="es-ES" sz="1400" dirty="0">
                <a:solidFill>
                  <a:srgbClr val="800000"/>
                </a:solidFill>
                <a:cs typeface="Arial"/>
              </a:rPr>
              <a:t>Brindar asistencia técnica </a:t>
            </a:r>
            <a:r>
              <a:rPr lang="es-ES" sz="1400" dirty="0" smtClean="0">
                <a:solidFill>
                  <a:srgbClr val="800000"/>
                </a:solidFill>
                <a:cs typeface="Arial"/>
              </a:rPr>
              <a:t>efectiva a ET e IFTDH</a:t>
            </a:r>
          </a:p>
          <a:p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. Diseño curricular</a:t>
            </a:r>
          </a:p>
          <a:p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b. SIET</a:t>
            </a:r>
          </a:p>
          <a:p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. Certificación de calidad </a:t>
            </a:r>
            <a:endParaRPr lang="es-CO" sz="1400" b="1" dirty="0">
              <a:cs typeface="Arial" charset="0"/>
            </a:endParaRPr>
          </a:p>
        </p:txBody>
      </p:sp>
      <p:sp>
        <p:nvSpPr>
          <p:cNvPr id="19473" name="36 Rectángulo">
            <a:hlinkClick r:id="rId7" action="ppaction://hlinksldjump"/>
          </p:cNvPr>
          <p:cNvSpPr>
            <a:spLocks noChangeArrowheads="1"/>
          </p:cNvSpPr>
          <p:nvPr/>
        </p:nvSpPr>
        <p:spPr bwMode="auto">
          <a:xfrm>
            <a:off x="3713261" y="3356992"/>
            <a:ext cx="287496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s-CO" sz="1400" b="1" dirty="0" smtClean="0">
                <a:solidFill>
                  <a:srgbClr val="800000"/>
                </a:solidFill>
                <a:cs typeface="Arial" charset="0"/>
              </a:rPr>
              <a:t>4</a:t>
            </a:r>
            <a:r>
              <a:rPr lang="es-CO" sz="1400" b="1" dirty="0">
                <a:solidFill>
                  <a:srgbClr val="800000"/>
                </a:solidFill>
                <a:cs typeface="Arial" charset="0"/>
              </a:rPr>
              <a:t>. </a:t>
            </a:r>
            <a:r>
              <a:rPr lang="es-ES" sz="1400" dirty="0">
                <a:solidFill>
                  <a:srgbClr val="800000"/>
                </a:solidFill>
                <a:cs typeface="Arial"/>
              </a:rPr>
              <a:t>Asegurar la articulación entre los niveles educativos </a:t>
            </a:r>
            <a:r>
              <a:rPr lang="es-ES" sz="1400" dirty="0" smtClean="0">
                <a:solidFill>
                  <a:srgbClr val="800000"/>
                </a:solidFill>
                <a:cs typeface="Arial"/>
              </a:rPr>
              <a:t>, aliados y </a:t>
            </a:r>
            <a:r>
              <a:rPr lang="es-ES" sz="1400" dirty="0">
                <a:solidFill>
                  <a:srgbClr val="800000"/>
                </a:solidFill>
                <a:cs typeface="Arial"/>
              </a:rPr>
              <a:t>el sector </a:t>
            </a:r>
            <a:r>
              <a:rPr lang="es-ES" sz="1400" dirty="0" smtClean="0">
                <a:solidFill>
                  <a:srgbClr val="800000"/>
                </a:solidFill>
                <a:cs typeface="Arial"/>
              </a:rPr>
              <a:t>productivo</a:t>
            </a:r>
          </a:p>
          <a:p>
            <a:pPr marL="228600" indent="-228600">
              <a:buAutoNum type="alphaLcPeriod"/>
            </a:pP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rticulación  con EM Y ES</a:t>
            </a:r>
          </a:p>
          <a:p>
            <a:pPr marL="228600" indent="-228600">
              <a:buAutoNum type="alphaLcPeriod"/>
            </a:pP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liados  y sector productivo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endParaRPr lang="es-CO" sz="1400" b="1" dirty="0">
              <a:cs typeface="Arial" charset="0"/>
            </a:endParaRPr>
          </a:p>
        </p:txBody>
      </p:sp>
      <p:sp>
        <p:nvSpPr>
          <p:cNvPr id="38" name="37 Rectángulo redondeado"/>
          <p:cNvSpPr/>
          <p:nvPr/>
        </p:nvSpPr>
        <p:spPr bwMode="auto">
          <a:xfrm>
            <a:off x="1187624" y="1088457"/>
            <a:ext cx="6281738" cy="579437"/>
          </a:xfrm>
          <a:prstGeom prst="round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es-CO" sz="2000" dirty="0">
                <a:latin typeface="Arial" pitchFamily="34" charset="0"/>
                <a:cs typeface="Arial" pitchFamily="34" charset="0"/>
              </a:rPr>
              <a:t>Contribuir a l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calidad y pertinencia de la formación del capital humano d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Colombia</a:t>
            </a:r>
          </a:p>
        </p:txBody>
      </p:sp>
      <p:sp>
        <p:nvSpPr>
          <p:cNvPr id="39" name="38 Rectángulo redondeado"/>
          <p:cNvSpPr/>
          <p:nvPr/>
        </p:nvSpPr>
        <p:spPr bwMode="auto">
          <a:xfrm>
            <a:off x="6785324" y="2171284"/>
            <a:ext cx="2035148" cy="87828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ósitos</a:t>
            </a:r>
            <a:endParaRPr lang="es-CO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39 Rectángulo redondeado"/>
          <p:cNvSpPr/>
          <p:nvPr/>
        </p:nvSpPr>
        <p:spPr bwMode="auto">
          <a:xfrm>
            <a:off x="6785324" y="3553559"/>
            <a:ext cx="2035148" cy="87828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rvicios y productos</a:t>
            </a:r>
            <a:endParaRPr lang="es-CO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40 Rectángulo redondeado"/>
          <p:cNvSpPr/>
          <p:nvPr/>
        </p:nvSpPr>
        <p:spPr bwMode="auto">
          <a:xfrm>
            <a:off x="6903218" y="5344081"/>
            <a:ext cx="2035148" cy="87828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arrollo institucional</a:t>
            </a:r>
            <a:endParaRPr lang="es-CO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35 Rectángulo redondeado">
            <a:hlinkClick r:id="rId8" action="ppaction://hlinksldjump"/>
          </p:cNvPr>
          <p:cNvSpPr/>
          <p:nvPr/>
        </p:nvSpPr>
        <p:spPr bwMode="auto">
          <a:xfrm>
            <a:off x="244475" y="4653136"/>
            <a:ext cx="3113088" cy="1978025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es-ES" sz="1400" b="1" dirty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5. </a:t>
            </a:r>
            <a:r>
              <a:rPr lang="es-ES" sz="1400" b="1" dirty="0" smtClean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Consolidar Sistema </a:t>
            </a:r>
            <a:r>
              <a:rPr lang="es-ES" sz="1400" b="1" dirty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Nacional de </a:t>
            </a:r>
            <a:r>
              <a:rPr lang="es-ES" sz="1400" b="1" dirty="0" smtClean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Formación</a:t>
            </a:r>
            <a:r>
              <a:rPr lang="es-ES" sz="1400" dirty="0" smtClean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 para el Trabajo</a:t>
            </a:r>
          </a:p>
          <a:p>
            <a:pPr marL="0" lvl="1" algn="ctr">
              <a:defRPr/>
            </a:pPr>
            <a:endParaRPr lang="es-ES" sz="1400" b="1" dirty="0"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lphaLcPeriod"/>
              <a:defRPr/>
            </a:pP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Redes 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Nacionales e Internacionales de FT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1"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b.  Observatorio Laboral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AutoNum type="alphaLcPeriod" startAt="3"/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Investigación  y Desarrollo </a:t>
            </a:r>
          </a:p>
          <a:p>
            <a:pPr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  Tecnológico</a:t>
            </a:r>
          </a:p>
          <a:p>
            <a:pPr>
              <a:defRPr/>
            </a:pPr>
            <a:endParaRPr lang="es-CO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5220073" y="447055"/>
            <a:ext cx="3923928" cy="461665"/>
          </a:xfrm>
          <a:prstGeom prst="rect">
            <a:avLst/>
          </a:prstGeom>
          <a:solidFill>
            <a:srgbClr val="80000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CO" dirty="0" smtClean="0">
                <a:solidFill>
                  <a:schemeClr val="bg1"/>
                </a:solidFill>
                <a:latin typeface="Arial MT"/>
              </a:rPr>
              <a:t>MODELO ESTRATÉGICO</a:t>
            </a:r>
            <a:endParaRPr lang="es-ES" b="1" dirty="0">
              <a:solidFill>
                <a:schemeClr val="bg1"/>
              </a:solidFill>
              <a:latin typeface="Arial M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98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7235254" y="1917576"/>
            <a:ext cx="1908746" cy="1295400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CO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ODELO </a:t>
            </a:r>
            <a:r>
              <a:rPr lang="es-CO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SEGURAMIENTO CALIDAD FTDH </a:t>
            </a:r>
            <a:endParaRPr lang="es-CO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06450" y="1024166"/>
            <a:ext cx="8229600" cy="830997"/>
          </a:xfr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>
            <a:spAutoFit/>
          </a:bodyPr>
          <a:lstStyle/>
          <a:p>
            <a:pPr>
              <a:defRPr/>
            </a:pPr>
            <a:r>
              <a:rPr lang="es-CO" sz="2400" b="1" dirty="0" smtClean="0">
                <a:solidFill>
                  <a:schemeClr val="bg1"/>
                </a:solidFill>
                <a:ea typeface="+mn-ea"/>
                <a:cs typeface="+mn-cs"/>
              </a:rPr>
              <a:t>1. </a:t>
            </a:r>
            <a:r>
              <a:rPr lang="es-CO" sz="2400" b="1" dirty="0" smtClean="0">
                <a:solidFill>
                  <a:schemeClr val="bg1"/>
                </a:solidFill>
                <a:cs typeface="Arial"/>
              </a:rPr>
              <a:t>Consolidar Sistema de aseguramiento y fomento de la calidad de la FTDH</a:t>
            </a:r>
            <a:endParaRPr lang="es-E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481741677"/>
              </p:ext>
            </p:extLst>
          </p:nvPr>
        </p:nvGraphicFramePr>
        <p:xfrm>
          <a:off x="251520" y="1772816"/>
          <a:ext cx="720080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Elipse"/>
          <p:cNvSpPr/>
          <p:nvPr/>
        </p:nvSpPr>
        <p:spPr bwMode="auto">
          <a:xfrm rot="16200000">
            <a:off x="5976391" y="2673151"/>
            <a:ext cx="1440061" cy="647700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es-CO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LIDAD</a:t>
            </a:r>
            <a:endParaRPr lang="es-CO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2" descr="http://portal.veracruz.gob.mx/pls/portal/docs/1/215753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32240" y="3670480"/>
            <a:ext cx="2232248" cy="2206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652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 bwMode="auto">
          <a:xfrm>
            <a:off x="4860032" y="0"/>
            <a:ext cx="4428357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" sz="3200" dirty="0" smtClean="0">
                <a:solidFill>
                  <a:srgbClr val="800000"/>
                </a:solidFill>
              </a:rPr>
              <a:t>Modelo de Aseguramiento </a:t>
            </a:r>
          </a:p>
          <a:p>
            <a:pPr>
              <a:defRPr/>
            </a:pPr>
            <a:r>
              <a:rPr lang="es-ES" sz="3200" dirty="0" smtClean="0">
                <a:solidFill>
                  <a:srgbClr val="800000"/>
                </a:solidFill>
              </a:rPr>
              <a:t>de Calidad para la FTDH</a:t>
            </a:r>
            <a:endParaRPr lang="es-CO" sz="3200" dirty="0">
              <a:solidFill>
                <a:srgbClr val="800000"/>
              </a:solidFill>
            </a:endParaRPr>
          </a:p>
        </p:txBody>
      </p:sp>
      <p:grpSp>
        <p:nvGrpSpPr>
          <p:cNvPr id="2" name="132 Grupo"/>
          <p:cNvGrpSpPr/>
          <p:nvPr/>
        </p:nvGrpSpPr>
        <p:grpSpPr>
          <a:xfrm>
            <a:off x="179512" y="1052736"/>
            <a:ext cx="8569201" cy="5667375"/>
            <a:chOff x="179512" y="1190625"/>
            <a:chExt cx="8569201" cy="5667375"/>
          </a:xfrm>
        </p:grpSpPr>
        <p:sp>
          <p:nvSpPr>
            <p:cNvPr id="6" name="5 Rectángulo"/>
            <p:cNvSpPr/>
            <p:nvPr/>
          </p:nvSpPr>
          <p:spPr>
            <a:xfrm>
              <a:off x="4716785" y="2464951"/>
              <a:ext cx="4031928" cy="30184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endParaRPr lang="es-CO" sz="2000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 Rounded MT Bold" pitchFamily="34" charset="0"/>
              </a:endParaRPr>
            </a:p>
          </p:txBody>
        </p:sp>
        <p:grpSp>
          <p:nvGrpSpPr>
            <p:cNvPr id="3" name="Group 67"/>
            <p:cNvGrpSpPr>
              <a:grpSpLocks noChangeAspect="1"/>
            </p:cNvGrpSpPr>
            <p:nvPr/>
          </p:nvGrpSpPr>
          <p:grpSpPr bwMode="auto">
            <a:xfrm>
              <a:off x="179512" y="1190625"/>
              <a:ext cx="8388350" cy="5667375"/>
              <a:chOff x="158" y="618"/>
              <a:chExt cx="5284" cy="3570"/>
            </a:xfrm>
          </p:grpSpPr>
          <p:sp>
            <p:nvSpPr>
              <p:cNvPr id="1090" name="AutoShape 66"/>
              <p:cNvSpPr>
                <a:spLocks noChangeAspect="1" noChangeArrowheads="1" noTextEdit="1"/>
              </p:cNvSpPr>
              <p:nvPr/>
            </p:nvSpPr>
            <p:spPr bwMode="auto">
              <a:xfrm>
                <a:off x="158" y="618"/>
                <a:ext cx="5284" cy="35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2" name="Rectangle 68"/>
              <p:cNvSpPr>
                <a:spLocks noChangeArrowheads="1"/>
              </p:cNvSpPr>
              <p:nvPr/>
            </p:nvSpPr>
            <p:spPr bwMode="auto">
              <a:xfrm>
                <a:off x="513" y="659"/>
                <a:ext cx="4926" cy="1250"/>
              </a:xfrm>
              <a:prstGeom prst="rect">
                <a:avLst/>
              </a:prstGeom>
              <a:solidFill>
                <a:srgbClr val="F2F2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3" name="Freeform 69"/>
              <p:cNvSpPr>
                <a:spLocks noEditPoints="1"/>
              </p:cNvSpPr>
              <p:nvPr/>
            </p:nvSpPr>
            <p:spPr bwMode="auto">
              <a:xfrm>
                <a:off x="510" y="654"/>
                <a:ext cx="4932" cy="1259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2" y="0"/>
                  </a:cxn>
                  <a:cxn ang="0">
                    <a:pos x="19056" y="0"/>
                  </a:cxn>
                  <a:cxn ang="0">
                    <a:pos x="19068" y="12"/>
                  </a:cxn>
                  <a:cxn ang="0">
                    <a:pos x="19068" y="3372"/>
                  </a:cxn>
                  <a:cxn ang="0">
                    <a:pos x="19056" y="3384"/>
                  </a:cxn>
                  <a:cxn ang="0">
                    <a:pos x="12" y="3384"/>
                  </a:cxn>
                  <a:cxn ang="0">
                    <a:pos x="0" y="3372"/>
                  </a:cxn>
                  <a:cxn ang="0">
                    <a:pos x="0" y="12"/>
                  </a:cxn>
                  <a:cxn ang="0">
                    <a:pos x="24" y="3372"/>
                  </a:cxn>
                  <a:cxn ang="0">
                    <a:pos x="12" y="3360"/>
                  </a:cxn>
                  <a:cxn ang="0">
                    <a:pos x="19056" y="3360"/>
                  </a:cxn>
                  <a:cxn ang="0">
                    <a:pos x="19044" y="3372"/>
                  </a:cxn>
                  <a:cxn ang="0">
                    <a:pos x="19044" y="12"/>
                  </a:cxn>
                  <a:cxn ang="0">
                    <a:pos x="19056" y="24"/>
                  </a:cxn>
                  <a:cxn ang="0">
                    <a:pos x="12" y="24"/>
                  </a:cxn>
                  <a:cxn ang="0">
                    <a:pos x="24" y="12"/>
                  </a:cxn>
                  <a:cxn ang="0">
                    <a:pos x="24" y="3372"/>
                  </a:cxn>
                </a:cxnLst>
                <a:rect l="0" t="0" r="r" b="b"/>
                <a:pathLst>
                  <a:path w="19068" h="3384">
                    <a:moveTo>
                      <a:pt x="0" y="12"/>
                    </a:moveTo>
                    <a:cubicBezTo>
                      <a:pt x="0" y="6"/>
                      <a:pt x="6" y="0"/>
                      <a:pt x="12" y="0"/>
                    </a:cubicBezTo>
                    <a:lnTo>
                      <a:pt x="19056" y="0"/>
                    </a:lnTo>
                    <a:cubicBezTo>
                      <a:pt x="19063" y="0"/>
                      <a:pt x="19068" y="6"/>
                      <a:pt x="19068" y="12"/>
                    </a:cubicBezTo>
                    <a:lnTo>
                      <a:pt x="19068" y="3372"/>
                    </a:lnTo>
                    <a:cubicBezTo>
                      <a:pt x="19068" y="3379"/>
                      <a:pt x="19063" y="3384"/>
                      <a:pt x="19056" y="3384"/>
                    </a:cubicBezTo>
                    <a:lnTo>
                      <a:pt x="12" y="3384"/>
                    </a:lnTo>
                    <a:cubicBezTo>
                      <a:pt x="6" y="3384"/>
                      <a:pt x="0" y="3379"/>
                      <a:pt x="0" y="3372"/>
                    </a:cubicBezTo>
                    <a:lnTo>
                      <a:pt x="0" y="12"/>
                    </a:lnTo>
                    <a:close/>
                    <a:moveTo>
                      <a:pt x="24" y="3372"/>
                    </a:moveTo>
                    <a:lnTo>
                      <a:pt x="12" y="3360"/>
                    </a:lnTo>
                    <a:lnTo>
                      <a:pt x="19056" y="3360"/>
                    </a:lnTo>
                    <a:lnTo>
                      <a:pt x="19044" y="3372"/>
                    </a:lnTo>
                    <a:lnTo>
                      <a:pt x="19044" y="12"/>
                    </a:lnTo>
                    <a:lnTo>
                      <a:pt x="19056" y="24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24" y="3372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4" name="Rectangle 70"/>
              <p:cNvSpPr>
                <a:spLocks noChangeArrowheads="1"/>
              </p:cNvSpPr>
              <p:nvPr/>
            </p:nvSpPr>
            <p:spPr bwMode="auto">
              <a:xfrm>
                <a:off x="513" y="1909"/>
                <a:ext cx="4926" cy="121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5" name="Freeform 71"/>
              <p:cNvSpPr>
                <a:spLocks noEditPoints="1"/>
              </p:cNvSpPr>
              <p:nvPr/>
            </p:nvSpPr>
            <p:spPr bwMode="auto">
              <a:xfrm>
                <a:off x="510" y="1905"/>
                <a:ext cx="4932" cy="122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2" y="0"/>
                  </a:cxn>
                  <a:cxn ang="0">
                    <a:pos x="19056" y="0"/>
                  </a:cxn>
                  <a:cxn ang="0">
                    <a:pos x="19068" y="12"/>
                  </a:cxn>
                  <a:cxn ang="0">
                    <a:pos x="19068" y="3268"/>
                  </a:cxn>
                  <a:cxn ang="0">
                    <a:pos x="19056" y="3280"/>
                  </a:cxn>
                  <a:cxn ang="0">
                    <a:pos x="12" y="3280"/>
                  </a:cxn>
                  <a:cxn ang="0">
                    <a:pos x="0" y="3268"/>
                  </a:cxn>
                  <a:cxn ang="0">
                    <a:pos x="0" y="12"/>
                  </a:cxn>
                  <a:cxn ang="0">
                    <a:pos x="24" y="3268"/>
                  </a:cxn>
                  <a:cxn ang="0">
                    <a:pos x="12" y="3256"/>
                  </a:cxn>
                  <a:cxn ang="0">
                    <a:pos x="19056" y="3256"/>
                  </a:cxn>
                  <a:cxn ang="0">
                    <a:pos x="19044" y="3268"/>
                  </a:cxn>
                  <a:cxn ang="0">
                    <a:pos x="19044" y="12"/>
                  </a:cxn>
                  <a:cxn ang="0">
                    <a:pos x="19056" y="24"/>
                  </a:cxn>
                  <a:cxn ang="0">
                    <a:pos x="12" y="24"/>
                  </a:cxn>
                  <a:cxn ang="0">
                    <a:pos x="24" y="12"/>
                  </a:cxn>
                  <a:cxn ang="0">
                    <a:pos x="24" y="3268"/>
                  </a:cxn>
                </a:cxnLst>
                <a:rect l="0" t="0" r="r" b="b"/>
                <a:pathLst>
                  <a:path w="19068" h="3280">
                    <a:moveTo>
                      <a:pt x="0" y="12"/>
                    </a:moveTo>
                    <a:cubicBezTo>
                      <a:pt x="0" y="6"/>
                      <a:pt x="6" y="0"/>
                      <a:pt x="12" y="0"/>
                    </a:cubicBezTo>
                    <a:lnTo>
                      <a:pt x="19056" y="0"/>
                    </a:lnTo>
                    <a:cubicBezTo>
                      <a:pt x="19063" y="0"/>
                      <a:pt x="19068" y="6"/>
                      <a:pt x="19068" y="12"/>
                    </a:cubicBezTo>
                    <a:lnTo>
                      <a:pt x="19068" y="3268"/>
                    </a:lnTo>
                    <a:cubicBezTo>
                      <a:pt x="19068" y="3275"/>
                      <a:pt x="19063" y="3280"/>
                      <a:pt x="19056" y="3280"/>
                    </a:cubicBezTo>
                    <a:lnTo>
                      <a:pt x="12" y="3280"/>
                    </a:lnTo>
                    <a:cubicBezTo>
                      <a:pt x="6" y="3280"/>
                      <a:pt x="0" y="3275"/>
                      <a:pt x="0" y="3268"/>
                    </a:cubicBezTo>
                    <a:lnTo>
                      <a:pt x="0" y="12"/>
                    </a:lnTo>
                    <a:close/>
                    <a:moveTo>
                      <a:pt x="24" y="3268"/>
                    </a:moveTo>
                    <a:lnTo>
                      <a:pt x="12" y="3256"/>
                    </a:lnTo>
                    <a:lnTo>
                      <a:pt x="19056" y="3256"/>
                    </a:lnTo>
                    <a:lnTo>
                      <a:pt x="19044" y="3268"/>
                    </a:lnTo>
                    <a:lnTo>
                      <a:pt x="19044" y="12"/>
                    </a:lnTo>
                    <a:lnTo>
                      <a:pt x="19056" y="24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24" y="326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6" name="Rectangle 72"/>
              <p:cNvSpPr>
                <a:spLocks noChangeArrowheads="1"/>
              </p:cNvSpPr>
              <p:nvPr/>
            </p:nvSpPr>
            <p:spPr bwMode="auto">
              <a:xfrm>
                <a:off x="513" y="3120"/>
                <a:ext cx="4926" cy="1003"/>
              </a:xfrm>
              <a:prstGeom prst="rect">
                <a:avLst/>
              </a:prstGeom>
              <a:solidFill>
                <a:srgbClr val="FEF0F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7" name="Freeform 73"/>
              <p:cNvSpPr>
                <a:spLocks noEditPoints="1"/>
              </p:cNvSpPr>
              <p:nvPr/>
            </p:nvSpPr>
            <p:spPr bwMode="auto">
              <a:xfrm>
                <a:off x="510" y="3116"/>
                <a:ext cx="4932" cy="101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2" y="0"/>
                  </a:cxn>
                  <a:cxn ang="0">
                    <a:pos x="19056" y="0"/>
                  </a:cxn>
                  <a:cxn ang="0">
                    <a:pos x="19068" y="12"/>
                  </a:cxn>
                  <a:cxn ang="0">
                    <a:pos x="19068" y="2708"/>
                  </a:cxn>
                  <a:cxn ang="0">
                    <a:pos x="19056" y="2720"/>
                  </a:cxn>
                  <a:cxn ang="0">
                    <a:pos x="12" y="2720"/>
                  </a:cxn>
                  <a:cxn ang="0">
                    <a:pos x="0" y="2708"/>
                  </a:cxn>
                  <a:cxn ang="0">
                    <a:pos x="0" y="12"/>
                  </a:cxn>
                  <a:cxn ang="0">
                    <a:pos x="24" y="2708"/>
                  </a:cxn>
                  <a:cxn ang="0">
                    <a:pos x="12" y="2696"/>
                  </a:cxn>
                  <a:cxn ang="0">
                    <a:pos x="19056" y="2696"/>
                  </a:cxn>
                  <a:cxn ang="0">
                    <a:pos x="19044" y="2708"/>
                  </a:cxn>
                  <a:cxn ang="0">
                    <a:pos x="19044" y="12"/>
                  </a:cxn>
                  <a:cxn ang="0">
                    <a:pos x="19056" y="24"/>
                  </a:cxn>
                  <a:cxn ang="0">
                    <a:pos x="12" y="24"/>
                  </a:cxn>
                  <a:cxn ang="0">
                    <a:pos x="24" y="12"/>
                  </a:cxn>
                  <a:cxn ang="0">
                    <a:pos x="24" y="2708"/>
                  </a:cxn>
                </a:cxnLst>
                <a:rect l="0" t="0" r="r" b="b"/>
                <a:pathLst>
                  <a:path w="19068" h="2720">
                    <a:moveTo>
                      <a:pt x="0" y="12"/>
                    </a:moveTo>
                    <a:cubicBezTo>
                      <a:pt x="0" y="6"/>
                      <a:pt x="6" y="0"/>
                      <a:pt x="12" y="0"/>
                    </a:cubicBezTo>
                    <a:lnTo>
                      <a:pt x="19056" y="0"/>
                    </a:lnTo>
                    <a:cubicBezTo>
                      <a:pt x="19063" y="0"/>
                      <a:pt x="19068" y="6"/>
                      <a:pt x="19068" y="12"/>
                    </a:cubicBezTo>
                    <a:lnTo>
                      <a:pt x="19068" y="2708"/>
                    </a:lnTo>
                    <a:cubicBezTo>
                      <a:pt x="19068" y="2715"/>
                      <a:pt x="19063" y="2720"/>
                      <a:pt x="19056" y="2720"/>
                    </a:cubicBezTo>
                    <a:lnTo>
                      <a:pt x="12" y="2720"/>
                    </a:lnTo>
                    <a:cubicBezTo>
                      <a:pt x="6" y="2720"/>
                      <a:pt x="0" y="2715"/>
                      <a:pt x="0" y="2708"/>
                    </a:cubicBezTo>
                    <a:lnTo>
                      <a:pt x="0" y="12"/>
                    </a:lnTo>
                    <a:close/>
                    <a:moveTo>
                      <a:pt x="24" y="2708"/>
                    </a:moveTo>
                    <a:lnTo>
                      <a:pt x="12" y="2696"/>
                    </a:lnTo>
                    <a:lnTo>
                      <a:pt x="19056" y="2696"/>
                    </a:lnTo>
                    <a:lnTo>
                      <a:pt x="19044" y="2708"/>
                    </a:lnTo>
                    <a:lnTo>
                      <a:pt x="19044" y="12"/>
                    </a:lnTo>
                    <a:lnTo>
                      <a:pt x="19056" y="24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24" y="270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8" name="Rectangle 74"/>
              <p:cNvSpPr>
                <a:spLocks noChangeArrowheads="1"/>
              </p:cNvSpPr>
              <p:nvPr/>
            </p:nvSpPr>
            <p:spPr bwMode="auto">
              <a:xfrm>
                <a:off x="793" y="3203"/>
                <a:ext cx="2037" cy="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LICENCIA DE FUNCIONAMIENTO</a:t>
                </a:r>
                <a:endParaRPr kumimoji="0" lang="es-E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99" name="Rectangle 75"/>
              <p:cNvSpPr>
                <a:spLocks noChangeArrowheads="1"/>
              </p:cNvSpPr>
              <p:nvPr/>
            </p:nvSpPr>
            <p:spPr bwMode="auto">
              <a:xfrm>
                <a:off x="748" y="2905"/>
                <a:ext cx="4672" cy="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ERTIFICACIÓN DE CALIDAD</a:t>
                </a:r>
                <a:r>
                  <a:rPr kumimoji="0" lang="es-ES" sz="1600" b="1" i="0" u="none" strike="noStrike" cap="none" normalizeH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 DE LA FORMACIÒN PARA EL TRABAJO</a:t>
                </a: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 </a:t>
                </a:r>
                <a:endParaRPr kumimoji="0" lang="es-ES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1" name="Rectangle 77"/>
              <p:cNvSpPr>
                <a:spLocks noChangeArrowheads="1"/>
              </p:cNvSpPr>
              <p:nvPr/>
            </p:nvSpPr>
            <p:spPr bwMode="auto">
              <a:xfrm>
                <a:off x="2901" y="3230"/>
                <a:ext cx="2383" cy="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effectLst/>
                    <a:latin typeface="Arial" pitchFamily="34" charset="0"/>
                    <a:cs typeface="Arial" pitchFamily="34" charset="0"/>
                  </a:rPr>
                  <a:t>APROBACIÓN DE PROGRAMAS</a:t>
                </a:r>
                <a:endParaRPr kumimoji="0" lang="es-ES" sz="1400" b="0" i="0" u="none" strike="noStrike" cap="none" normalizeH="0" baseline="0" dirty="0" smtClean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3" name="Freeform 79"/>
              <p:cNvSpPr>
                <a:spLocks/>
              </p:cNvSpPr>
              <p:nvPr/>
            </p:nvSpPr>
            <p:spPr bwMode="auto">
              <a:xfrm>
                <a:off x="3180" y="3498"/>
                <a:ext cx="1119" cy="539"/>
              </a:xfrm>
              <a:custGeom>
                <a:avLst/>
                <a:gdLst/>
                <a:ahLst/>
                <a:cxnLst>
                  <a:cxn ang="0">
                    <a:pos x="0" y="483"/>
                  </a:cxn>
                  <a:cxn ang="0">
                    <a:pos x="483" y="0"/>
                  </a:cxn>
                  <a:cxn ang="0">
                    <a:pos x="8174" y="0"/>
                  </a:cxn>
                  <a:cxn ang="0">
                    <a:pos x="8656" y="483"/>
                  </a:cxn>
                  <a:cxn ang="0">
                    <a:pos x="8656" y="2414"/>
                  </a:cxn>
                  <a:cxn ang="0">
                    <a:pos x="8174" y="2896"/>
                  </a:cxn>
                  <a:cxn ang="0">
                    <a:pos x="483" y="2896"/>
                  </a:cxn>
                  <a:cxn ang="0">
                    <a:pos x="0" y="2414"/>
                  </a:cxn>
                  <a:cxn ang="0">
                    <a:pos x="0" y="483"/>
                  </a:cxn>
                </a:cxnLst>
                <a:rect l="0" t="0" r="r" b="b"/>
                <a:pathLst>
                  <a:path w="8656" h="2896">
                    <a:moveTo>
                      <a:pt x="0" y="483"/>
                    </a:moveTo>
                    <a:cubicBezTo>
                      <a:pt x="0" y="217"/>
                      <a:pt x="217" y="0"/>
                      <a:pt x="483" y="0"/>
                    </a:cubicBezTo>
                    <a:lnTo>
                      <a:pt x="8174" y="0"/>
                    </a:lnTo>
                    <a:cubicBezTo>
                      <a:pt x="8440" y="0"/>
                      <a:pt x="8656" y="217"/>
                      <a:pt x="8656" y="483"/>
                    </a:cubicBezTo>
                    <a:lnTo>
                      <a:pt x="8656" y="2414"/>
                    </a:lnTo>
                    <a:cubicBezTo>
                      <a:pt x="8656" y="2680"/>
                      <a:pt x="8440" y="2896"/>
                      <a:pt x="8174" y="2896"/>
                    </a:cubicBezTo>
                    <a:lnTo>
                      <a:pt x="483" y="2896"/>
                    </a:lnTo>
                    <a:cubicBezTo>
                      <a:pt x="217" y="2896"/>
                      <a:pt x="0" y="2680"/>
                      <a:pt x="0" y="2414"/>
                    </a:cubicBezTo>
                    <a:lnTo>
                      <a:pt x="0" y="483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04" name="Freeform 80"/>
              <p:cNvSpPr>
                <a:spLocks noEditPoints="1"/>
              </p:cNvSpPr>
              <p:nvPr/>
            </p:nvSpPr>
            <p:spPr bwMode="auto">
              <a:xfrm>
                <a:off x="3174" y="3491"/>
                <a:ext cx="1130" cy="553"/>
              </a:xfrm>
              <a:custGeom>
                <a:avLst/>
                <a:gdLst/>
                <a:ahLst/>
                <a:cxnLst>
                  <a:cxn ang="0">
                    <a:pos x="2" y="78"/>
                  </a:cxn>
                  <a:cxn ang="0">
                    <a:pos x="9" y="51"/>
                  </a:cxn>
                  <a:cxn ang="0">
                    <a:pos x="20" y="29"/>
                  </a:cxn>
                  <a:cxn ang="0">
                    <a:pos x="36" y="12"/>
                  </a:cxn>
                  <a:cxn ang="0">
                    <a:pos x="54" y="2"/>
                  </a:cxn>
                  <a:cxn ang="0">
                    <a:pos x="1063" y="0"/>
                  </a:cxn>
                  <a:cxn ang="0">
                    <a:pos x="1083" y="4"/>
                  </a:cxn>
                  <a:cxn ang="0">
                    <a:pos x="1100" y="16"/>
                  </a:cxn>
                  <a:cxn ang="0">
                    <a:pos x="1115" y="35"/>
                  </a:cxn>
                  <a:cxn ang="0">
                    <a:pos x="1125" y="59"/>
                  </a:cxn>
                  <a:cxn ang="0">
                    <a:pos x="1130" y="87"/>
                  </a:cxn>
                  <a:cxn ang="0">
                    <a:pos x="1130" y="466"/>
                  </a:cxn>
                  <a:cxn ang="0">
                    <a:pos x="1125" y="494"/>
                  </a:cxn>
                  <a:cxn ang="0">
                    <a:pos x="1115" y="518"/>
                  </a:cxn>
                  <a:cxn ang="0">
                    <a:pos x="1101" y="537"/>
                  </a:cxn>
                  <a:cxn ang="0">
                    <a:pos x="1083" y="549"/>
                  </a:cxn>
                  <a:cxn ang="0">
                    <a:pos x="1063" y="553"/>
                  </a:cxn>
                  <a:cxn ang="0">
                    <a:pos x="55" y="552"/>
                  </a:cxn>
                  <a:cxn ang="0">
                    <a:pos x="36" y="542"/>
                  </a:cxn>
                  <a:cxn ang="0">
                    <a:pos x="21" y="525"/>
                  </a:cxn>
                  <a:cxn ang="0">
                    <a:pos x="9" y="503"/>
                  </a:cxn>
                  <a:cxn ang="0">
                    <a:pos x="2" y="476"/>
                  </a:cxn>
                  <a:cxn ang="0">
                    <a:pos x="0" y="97"/>
                  </a:cxn>
                  <a:cxn ang="0">
                    <a:pos x="12" y="473"/>
                  </a:cxn>
                  <a:cxn ang="0">
                    <a:pos x="18" y="495"/>
                  </a:cxn>
                  <a:cxn ang="0">
                    <a:pos x="28" y="514"/>
                  </a:cxn>
                  <a:cxn ang="0">
                    <a:pos x="41" y="529"/>
                  </a:cxn>
                  <a:cxn ang="0">
                    <a:pos x="56" y="537"/>
                  </a:cxn>
                  <a:cxn ang="0">
                    <a:pos x="1063" y="539"/>
                  </a:cxn>
                  <a:cxn ang="0">
                    <a:pos x="1080" y="535"/>
                  </a:cxn>
                  <a:cxn ang="0">
                    <a:pos x="1095" y="525"/>
                  </a:cxn>
                  <a:cxn ang="0">
                    <a:pos x="1107" y="509"/>
                  </a:cxn>
                  <a:cxn ang="0">
                    <a:pos x="1115" y="489"/>
                  </a:cxn>
                  <a:cxn ang="0">
                    <a:pos x="1120" y="465"/>
                  </a:cxn>
                  <a:cxn ang="0">
                    <a:pos x="1120" y="89"/>
                  </a:cxn>
                  <a:cxn ang="0">
                    <a:pos x="1116" y="66"/>
                  </a:cxn>
                  <a:cxn ang="0">
                    <a:pos x="1107" y="45"/>
                  </a:cxn>
                  <a:cxn ang="0">
                    <a:pos x="1095" y="29"/>
                  </a:cxn>
                  <a:cxn ang="0">
                    <a:pos x="1080" y="19"/>
                  </a:cxn>
                  <a:cxn ang="0">
                    <a:pos x="1063" y="15"/>
                  </a:cxn>
                  <a:cxn ang="0">
                    <a:pos x="57" y="16"/>
                  </a:cxn>
                  <a:cxn ang="0">
                    <a:pos x="41" y="25"/>
                  </a:cxn>
                  <a:cxn ang="0">
                    <a:pos x="28" y="39"/>
                  </a:cxn>
                  <a:cxn ang="0">
                    <a:pos x="18" y="58"/>
                  </a:cxn>
                  <a:cxn ang="0">
                    <a:pos x="12" y="80"/>
                  </a:cxn>
                  <a:cxn ang="0">
                    <a:pos x="11" y="456"/>
                  </a:cxn>
                </a:cxnLst>
                <a:rect l="0" t="0" r="r" b="b"/>
                <a:pathLst>
                  <a:path w="1130" h="553">
                    <a:moveTo>
                      <a:pt x="0" y="97"/>
                    </a:moveTo>
                    <a:lnTo>
                      <a:pt x="1" y="88"/>
                    </a:lnTo>
                    <a:lnTo>
                      <a:pt x="2" y="78"/>
                    </a:lnTo>
                    <a:lnTo>
                      <a:pt x="3" y="69"/>
                    </a:lnTo>
                    <a:lnTo>
                      <a:pt x="6" y="60"/>
                    </a:lnTo>
                    <a:lnTo>
                      <a:pt x="9" y="51"/>
                    </a:lnTo>
                    <a:lnTo>
                      <a:pt x="12" y="43"/>
                    </a:lnTo>
                    <a:lnTo>
                      <a:pt x="16" y="36"/>
                    </a:lnTo>
                    <a:lnTo>
                      <a:pt x="20" y="29"/>
                    </a:lnTo>
                    <a:lnTo>
                      <a:pt x="25" y="22"/>
                    </a:lnTo>
                    <a:lnTo>
                      <a:pt x="30" y="17"/>
                    </a:lnTo>
                    <a:lnTo>
                      <a:pt x="36" y="12"/>
                    </a:lnTo>
                    <a:lnTo>
                      <a:pt x="42" y="8"/>
                    </a:lnTo>
                    <a:lnTo>
                      <a:pt x="48" y="4"/>
                    </a:lnTo>
                    <a:lnTo>
                      <a:pt x="54" y="2"/>
                    </a:lnTo>
                    <a:lnTo>
                      <a:pt x="61" y="0"/>
                    </a:lnTo>
                    <a:lnTo>
                      <a:pt x="68" y="0"/>
                    </a:lnTo>
                    <a:lnTo>
                      <a:pt x="1063" y="0"/>
                    </a:lnTo>
                    <a:lnTo>
                      <a:pt x="1069" y="0"/>
                    </a:lnTo>
                    <a:lnTo>
                      <a:pt x="1076" y="2"/>
                    </a:lnTo>
                    <a:lnTo>
                      <a:pt x="1083" y="4"/>
                    </a:lnTo>
                    <a:lnTo>
                      <a:pt x="1089" y="8"/>
                    </a:lnTo>
                    <a:lnTo>
                      <a:pt x="1095" y="12"/>
                    </a:lnTo>
                    <a:lnTo>
                      <a:pt x="1100" y="16"/>
                    </a:lnTo>
                    <a:lnTo>
                      <a:pt x="1106" y="22"/>
                    </a:lnTo>
                    <a:lnTo>
                      <a:pt x="1110" y="28"/>
                    </a:lnTo>
                    <a:lnTo>
                      <a:pt x="1115" y="35"/>
                    </a:lnTo>
                    <a:lnTo>
                      <a:pt x="1119" y="43"/>
                    </a:lnTo>
                    <a:lnTo>
                      <a:pt x="1122" y="51"/>
                    </a:lnTo>
                    <a:lnTo>
                      <a:pt x="1125" y="59"/>
                    </a:lnTo>
                    <a:lnTo>
                      <a:pt x="1127" y="68"/>
                    </a:lnTo>
                    <a:lnTo>
                      <a:pt x="1129" y="77"/>
                    </a:lnTo>
                    <a:lnTo>
                      <a:pt x="1130" y="87"/>
                    </a:lnTo>
                    <a:lnTo>
                      <a:pt x="1130" y="97"/>
                    </a:lnTo>
                    <a:lnTo>
                      <a:pt x="1130" y="456"/>
                    </a:lnTo>
                    <a:lnTo>
                      <a:pt x="1130" y="466"/>
                    </a:lnTo>
                    <a:lnTo>
                      <a:pt x="1129" y="476"/>
                    </a:lnTo>
                    <a:lnTo>
                      <a:pt x="1127" y="485"/>
                    </a:lnTo>
                    <a:lnTo>
                      <a:pt x="1125" y="494"/>
                    </a:lnTo>
                    <a:lnTo>
                      <a:pt x="1122" y="502"/>
                    </a:lnTo>
                    <a:lnTo>
                      <a:pt x="1119" y="511"/>
                    </a:lnTo>
                    <a:lnTo>
                      <a:pt x="1115" y="518"/>
                    </a:lnTo>
                    <a:lnTo>
                      <a:pt x="1111" y="525"/>
                    </a:lnTo>
                    <a:lnTo>
                      <a:pt x="1106" y="531"/>
                    </a:lnTo>
                    <a:lnTo>
                      <a:pt x="1101" y="537"/>
                    </a:lnTo>
                    <a:lnTo>
                      <a:pt x="1095" y="542"/>
                    </a:lnTo>
                    <a:lnTo>
                      <a:pt x="1089" y="546"/>
                    </a:lnTo>
                    <a:lnTo>
                      <a:pt x="1083" y="549"/>
                    </a:lnTo>
                    <a:lnTo>
                      <a:pt x="1077" y="551"/>
                    </a:lnTo>
                    <a:lnTo>
                      <a:pt x="1070" y="553"/>
                    </a:lnTo>
                    <a:lnTo>
                      <a:pt x="1063" y="553"/>
                    </a:lnTo>
                    <a:lnTo>
                      <a:pt x="68" y="553"/>
                    </a:lnTo>
                    <a:lnTo>
                      <a:pt x="62" y="553"/>
                    </a:lnTo>
                    <a:lnTo>
                      <a:pt x="55" y="552"/>
                    </a:lnTo>
                    <a:lnTo>
                      <a:pt x="48" y="549"/>
                    </a:lnTo>
                    <a:lnTo>
                      <a:pt x="42" y="546"/>
                    </a:lnTo>
                    <a:lnTo>
                      <a:pt x="36" y="542"/>
                    </a:lnTo>
                    <a:lnTo>
                      <a:pt x="31" y="537"/>
                    </a:lnTo>
                    <a:lnTo>
                      <a:pt x="25" y="532"/>
                    </a:lnTo>
                    <a:lnTo>
                      <a:pt x="21" y="525"/>
                    </a:lnTo>
                    <a:lnTo>
                      <a:pt x="16" y="519"/>
                    </a:lnTo>
                    <a:lnTo>
                      <a:pt x="12" y="511"/>
                    </a:lnTo>
                    <a:lnTo>
                      <a:pt x="9" y="503"/>
                    </a:lnTo>
                    <a:lnTo>
                      <a:pt x="6" y="495"/>
                    </a:lnTo>
                    <a:lnTo>
                      <a:pt x="4" y="486"/>
                    </a:lnTo>
                    <a:lnTo>
                      <a:pt x="2" y="476"/>
                    </a:lnTo>
                    <a:lnTo>
                      <a:pt x="1" y="467"/>
                    </a:lnTo>
                    <a:lnTo>
                      <a:pt x="1" y="457"/>
                    </a:lnTo>
                    <a:lnTo>
                      <a:pt x="0" y="97"/>
                    </a:lnTo>
                    <a:close/>
                    <a:moveTo>
                      <a:pt x="11" y="456"/>
                    </a:moveTo>
                    <a:lnTo>
                      <a:pt x="11" y="464"/>
                    </a:lnTo>
                    <a:lnTo>
                      <a:pt x="12" y="473"/>
                    </a:lnTo>
                    <a:lnTo>
                      <a:pt x="13" y="481"/>
                    </a:lnTo>
                    <a:lnTo>
                      <a:pt x="15" y="488"/>
                    </a:lnTo>
                    <a:lnTo>
                      <a:pt x="18" y="495"/>
                    </a:lnTo>
                    <a:lnTo>
                      <a:pt x="21" y="502"/>
                    </a:lnTo>
                    <a:lnTo>
                      <a:pt x="24" y="508"/>
                    </a:lnTo>
                    <a:lnTo>
                      <a:pt x="28" y="514"/>
                    </a:lnTo>
                    <a:lnTo>
                      <a:pt x="32" y="520"/>
                    </a:lnTo>
                    <a:lnTo>
                      <a:pt x="36" y="524"/>
                    </a:lnTo>
                    <a:lnTo>
                      <a:pt x="41" y="529"/>
                    </a:lnTo>
                    <a:lnTo>
                      <a:pt x="46" y="532"/>
                    </a:lnTo>
                    <a:lnTo>
                      <a:pt x="51" y="535"/>
                    </a:lnTo>
                    <a:lnTo>
                      <a:pt x="56" y="537"/>
                    </a:lnTo>
                    <a:lnTo>
                      <a:pt x="62" y="538"/>
                    </a:lnTo>
                    <a:lnTo>
                      <a:pt x="68" y="539"/>
                    </a:lnTo>
                    <a:lnTo>
                      <a:pt x="1063" y="539"/>
                    </a:lnTo>
                    <a:lnTo>
                      <a:pt x="1068" y="538"/>
                    </a:lnTo>
                    <a:lnTo>
                      <a:pt x="1074" y="537"/>
                    </a:lnTo>
                    <a:lnTo>
                      <a:pt x="1080" y="535"/>
                    </a:lnTo>
                    <a:lnTo>
                      <a:pt x="1085" y="532"/>
                    </a:lnTo>
                    <a:lnTo>
                      <a:pt x="1090" y="529"/>
                    </a:lnTo>
                    <a:lnTo>
                      <a:pt x="1095" y="525"/>
                    </a:lnTo>
                    <a:lnTo>
                      <a:pt x="1099" y="520"/>
                    </a:lnTo>
                    <a:lnTo>
                      <a:pt x="1103" y="515"/>
                    </a:lnTo>
                    <a:lnTo>
                      <a:pt x="1107" y="509"/>
                    </a:lnTo>
                    <a:lnTo>
                      <a:pt x="1110" y="503"/>
                    </a:lnTo>
                    <a:lnTo>
                      <a:pt x="1113" y="496"/>
                    </a:lnTo>
                    <a:lnTo>
                      <a:pt x="1115" y="489"/>
                    </a:lnTo>
                    <a:lnTo>
                      <a:pt x="1117" y="481"/>
                    </a:lnTo>
                    <a:lnTo>
                      <a:pt x="1119" y="473"/>
                    </a:lnTo>
                    <a:lnTo>
                      <a:pt x="1120" y="465"/>
                    </a:lnTo>
                    <a:lnTo>
                      <a:pt x="1120" y="456"/>
                    </a:lnTo>
                    <a:lnTo>
                      <a:pt x="1120" y="98"/>
                    </a:lnTo>
                    <a:lnTo>
                      <a:pt x="1120" y="89"/>
                    </a:lnTo>
                    <a:lnTo>
                      <a:pt x="1119" y="81"/>
                    </a:lnTo>
                    <a:lnTo>
                      <a:pt x="1118" y="73"/>
                    </a:lnTo>
                    <a:lnTo>
                      <a:pt x="1116" y="66"/>
                    </a:lnTo>
                    <a:lnTo>
                      <a:pt x="1113" y="58"/>
                    </a:lnTo>
                    <a:lnTo>
                      <a:pt x="1110" y="51"/>
                    </a:lnTo>
                    <a:lnTo>
                      <a:pt x="1107" y="45"/>
                    </a:lnTo>
                    <a:lnTo>
                      <a:pt x="1103" y="39"/>
                    </a:lnTo>
                    <a:lnTo>
                      <a:pt x="1099" y="34"/>
                    </a:lnTo>
                    <a:lnTo>
                      <a:pt x="1095" y="29"/>
                    </a:lnTo>
                    <a:lnTo>
                      <a:pt x="1090" y="25"/>
                    </a:lnTo>
                    <a:lnTo>
                      <a:pt x="1085" y="21"/>
                    </a:lnTo>
                    <a:lnTo>
                      <a:pt x="1080" y="19"/>
                    </a:lnTo>
                    <a:lnTo>
                      <a:pt x="1075" y="17"/>
                    </a:lnTo>
                    <a:lnTo>
                      <a:pt x="1069" y="15"/>
                    </a:lnTo>
                    <a:lnTo>
                      <a:pt x="1063" y="15"/>
                    </a:lnTo>
                    <a:lnTo>
                      <a:pt x="68" y="15"/>
                    </a:lnTo>
                    <a:lnTo>
                      <a:pt x="63" y="15"/>
                    </a:lnTo>
                    <a:lnTo>
                      <a:pt x="57" y="16"/>
                    </a:lnTo>
                    <a:lnTo>
                      <a:pt x="51" y="18"/>
                    </a:lnTo>
                    <a:lnTo>
                      <a:pt x="46" y="21"/>
                    </a:lnTo>
                    <a:lnTo>
                      <a:pt x="41" y="25"/>
                    </a:lnTo>
                    <a:lnTo>
                      <a:pt x="36" y="29"/>
                    </a:lnTo>
                    <a:lnTo>
                      <a:pt x="32" y="34"/>
                    </a:lnTo>
                    <a:lnTo>
                      <a:pt x="28" y="39"/>
                    </a:lnTo>
                    <a:lnTo>
                      <a:pt x="24" y="45"/>
                    </a:lnTo>
                    <a:lnTo>
                      <a:pt x="21" y="51"/>
                    </a:lnTo>
                    <a:lnTo>
                      <a:pt x="18" y="58"/>
                    </a:lnTo>
                    <a:lnTo>
                      <a:pt x="15" y="65"/>
                    </a:lnTo>
                    <a:lnTo>
                      <a:pt x="14" y="72"/>
                    </a:lnTo>
                    <a:lnTo>
                      <a:pt x="12" y="80"/>
                    </a:lnTo>
                    <a:lnTo>
                      <a:pt x="11" y="88"/>
                    </a:lnTo>
                    <a:lnTo>
                      <a:pt x="11" y="97"/>
                    </a:lnTo>
                    <a:lnTo>
                      <a:pt x="11" y="456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06" name="Rectangle 82"/>
              <p:cNvSpPr>
                <a:spLocks noChangeArrowheads="1"/>
              </p:cNvSpPr>
              <p:nvPr/>
            </p:nvSpPr>
            <p:spPr bwMode="auto">
              <a:xfrm>
                <a:off x="3288" y="3611"/>
                <a:ext cx="725" cy="2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25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bligatorio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107" name="Picture 83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3138" y="2044"/>
                <a:ext cx="1121" cy="8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08" name="Freeform 84"/>
              <p:cNvSpPr>
                <a:spLocks noEditPoints="1"/>
              </p:cNvSpPr>
              <p:nvPr/>
            </p:nvSpPr>
            <p:spPr bwMode="auto">
              <a:xfrm>
                <a:off x="3135" y="2040"/>
                <a:ext cx="1127" cy="817"/>
              </a:xfrm>
              <a:custGeom>
                <a:avLst/>
                <a:gdLst/>
                <a:ahLst/>
                <a:cxnLst>
                  <a:cxn ang="0">
                    <a:pos x="2" y="111"/>
                  </a:cxn>
                  <a:cxn ang="0">
                    <a:pos x="12" y="73"/>
                  </a:cxn>
                  <a:cxn ang="0">
                    <a:pos x="29" y="41"/>
                  </a:cxn>
                  <a:cxn ang="0">
                    <a:pos x="51" y="17"/>
                  </a:cxn>
                  <a:cxn ang="0">
                    <a:pos x="77" y="3"/>
                  </a:cxn>
                  <a:cxn ang="0">
                    <a:pos x="1030" y="0"/>
                  </a:cxn>
                  <a:cxn ang="0">
                    <a:pos x="1059" y="6"/>
                  </a:cxn>
                  <a:cxn ang="0">
                    <a:pos x="1084" y="24"/>
                  </a:cxn>
                  <a:cxn ang="0">
                    <a:pos x="1105" y="51"/>
                  </a:cxn>
                  <a:cxn ang="0">
                    <a:pos x="1119" y="85"/>
                  </a:cxn>
                  <a:cxn ang="0">
                    <a:pos x="1127" y="125"/>
                  </a:cxn>
                  <a:cxn ang="0">
                    <a:pos x="1127" y="692"/>
                  </a:cxn>
                  <a:cxn ang="0">
                    <a:pos x="1119" y="732"/>
                  </a:cxn>
                  <a:cxn ang="0">
                    <a:pos x="1105" y="766"/>
                  </a:cxn>
                  <a:cxn ang="0">
                    <a:pos x="1084" y="793"/>
                  </a:cxn>
                  <a:cxn ang="0">
                    <a:pos x="1059" y="811"/>
                  </a:cxn>
                  <a:cxn ang="0">
                    <a:pos x="1030" y="817"/>
                  </a:cxn>
                  <a:cxn ang="0">
                    <a:pos x="78" y="814"/>
                  </a:cxn>
                  <a:cxn ang="0">
                    <a:pos x="51" y="800"/>
                  </a:cxn>
                  <a:cxn ang="0">
                    <a:pos x="29" y="776"/>
                  </a:cxn>
                  <a:cxn ang="0">
                    <a:pos x="12" y="744"/>
                  </a:cxn>
                  <a:cxn ang="0">
                    <a:pos x="2" y="706"/>
                  </a:cxn>
                  <a:cxn ang="0">
                    <a:pos x="0" y="139"/>
                  </a:cxn>
                  <a:cxn ang="0">
                    <a:pos x="8" y="704"/>
                  </a:cxn>
                  <a:cxn ang="0">
                    <a:pos x="17" y="740"/>
                  </a:cxn>
                  <a:cxn ang="0">
                    <a:pos x="33" y="770"/>
                  </a:cxn>
                  <a:cxn ang="0">
                    <a:pos x="54" y="792"/>
                  </a:cxn>
                  <a:cxn ang="0">
                    <a:pos x="79" y="805"/>
                  </a:cxn>
                  <a:cxn ang="0">
                    <a:pos x="1030" y="808"/>
                  </a:cxn>
                  <a:cxn ang="0">
                    <a:pos x="1057" y="802"/>
                  </a:cxn>
                  <a:cxn ang="0">
                    <a:pos x="1081" y="786"/>
                  </a:cxn>
                  <a:cxn ang="0">
                    <a:pos x="1100" y="761"/>
                  </a:cxn>
                  <a:cxn ang="0">
                    <a:pos x="1114" y="729"/>
                  </a:cxn>
                  <a:cxn ang="0">
                    <a:pos x="1120" y="691"/>
                  </a:cxn>
                  <a:cxn ang="0">
                    <a:pos x="1120" y="126"/>
                  </a:cxn>
                  <a:cxn ang="0">
                    <a:pos x="1114" y="89"/>
                  </a:cxn>
                  <a:cxn ang="0">
                    <a:pos x="1100" y="56"/>
                  </a:cxn>
                  <a:cxn ang="0">
                    <a:pos x="1081" y="31"/>
                  </a:cxn>
                  <a:cxn ang="0">
                    <a:pos x="1057" y="15"/>
                  </a:cxn>
                  <a:cxn ang="0">
                    <a:pos x="1030" y="9"/>
                  </a:cxn>
                  <a:cxn ang="0">
                    <a:pos x="79" y="11"/>
                  </a:cxn>
                  <a:cxn ang="0">
                    <a:pos x="54" y="24"/>
                  </a:cxn>
                  <a:cxn ang="0">
                    <a:pos x="33" y="47"/>
                  </a:cxn>
                  <a:cxn ang="0">
                    <a:pos x="18" y="77"/>
                  </a:cxn>
                  <a:cxn ang="0">
                    <a:pos x="8" y="113"/>
                  </a:cxn>
                  <a:cxn ang="0">
                    <a:pos x="6" y="678"/>
                  </a:cxn>
                </a:cxnLst>
                <a:rect l="0" t="0" r="r" b="b"/>
                <a:pathLst>
                  <a:path w="1127" h="817">
                    <a:moveTo>
                      <a:pt x="0" y="139"/>
                    </a:moveTo>
                    <a:lnTo>
                      <a:pt x="1" y="125"/>
                    </a:lnTo>
                    <a:lnTo>
                      <a:pt x="2" y="111"/>
                    </a:lnTo>
                    <a:lnTo>
                      <a:pt x="5" y="98"/>
                    </a:lnTo>
                    <a:lnTo>
                      <a:pt x="8" y="85"/>
                    </a:lnTo>
                    <a:lnTo>
                      <a:pt x="12" y="73"/>
                    </a:lnTo>
                    <a:lnTo>
                      <a:pt x="17" y="62"/>
                    </a:lnTo>
                    <a:lnTo>
                      <a:pt x="22" y="51"/>
                    </a:lnTo>
                    <a:lnTo>
                      <a:pt x="29" y="41"/>
                    </a:lnTo>
                    <a:lnTo>
                      <a:pt x="35" y="32"/>
                    </a:lnTo>
                    <a:lnTo>
                      <a:pt x="43" y="24"/>
                    </a:lnTo>
                    <a:lnTo>
                      <a:pt x="51" y="17"/>
                    </a:lnTo>
                    <a:lnTo>
                      <a:pt x="59" y="11"/>
                    </a:lnTo>
                    <a:lnTo>
                      <a:pt x="68" y="6"/>
                    </a:lnTo>
                    <a:lnTo>
                      <a:pt x="77" y="3"/>
                    </a:lnTo>
                    <a:lnTo>
                      <a:pt x="87" y="1"/>
                    </a:lnTo>
                    <a:lnTo>
                      <a:pt x="97" y="0"/>
                    </a:lnTo>
                    <a:lnTo>
                      <a:pt x="1030" y="0"/>
                    </a:lnTo>
                    <a:lnTo>
                      <a:pt x="1040" y="1"/>
                    </a:lnTo>
                    <a:lnTo>
                      <a:pt x="1050" y="3"/>
                    </a:lnTo>
                    <a:lnTo>
                      <a:pt x="1059" y="6"/>
                    </a:lnTo>
                    <a:lnTo>
                      <a:pt x="1068" y="11"/>
                    </a:lnTo>
                    <a:lnTo>
                      <a:pt x="1076" y="17"/>
                    </a:lnTo>
                    <a:lnTo>
                      <a:pt x="1084" y="24"/>
                    </a:lnTo>
                    <a:lnTo>
                      <a:pt x="1092" y="32"/>
                    </a:lnTo>
                    <a:lnTo>
                      <a:pt x="1099" y="41"/>
                    </a:lnTo>
                    <a:lnTo>
                      <a:pt x="1105" y="51"/>
                    </a:lnTo>
                    <a:lnTo>
                      <a:pt x="1110" y="61"/>
                    </a:lnTo>
                    <a:lnTo>
                      <a:pt x="1115" y="73"/>
                    </a:lnTo>
                    <a:lnTo>
                      <a:pt x="1119" y="85"/>
                    </a:lnTo>
                    <a:lnTo>
                      <a:pt x="1123" y="98"/>
                    </a:lnTo>
                    <a:lnTo>
                      <a:pt x="1125" y="111"/>
                    </a:lnTo>
                    <a:lnTo>
                      <a:pt x="1127" y="125"/>
                    </a:lnTo>
                    <a:lnTo>
                      <a:pt x="1127" y="139"/>
                    </a:lnTo>
                    <a:lnTo>
                      <a:pt x="1127" y="678"/>
                    </a:lnTo>
                    <a:lnTo>
                      <a:pt x="1127" y="692"/>
                    </a:lnTo>
                    <a:lnTo>
                      <a:pt x="1125" y="706"/>
                    </a:lnTo>
                    <a:lnTo>
                      <a:pt x="1123" y="719"/>
                    </a:lnTo>
                    <a:lnTo>
                      <a:pt x="1119" y="732"/>
                    </a:lnTo>
                    <a:lnTo>
                      <a:pt x="1115" y="744"/>
                    </a:lnTo>
                    <a:lnTo>
                      <a:pt x="1111" y="756"/>
                    </a:lnTo>
                    <a:lnTo>
                      <a:pt x="1105" y="766"/>
                    </a:lnTo>
                    <a:lnTo>
                      <a:pt x="1099" y="776"/>
                    </a:lnTo>
                    <a:lnTo>
                      <a:pt x="1092" y="785"/>
                    </a:lnTo>
                    <a:lnTo>
                      <a:pt x="1084" y="793"/>
                    </a:lnTo>
                    <a:lnTo>
                      <a:pt x="1076" y="800"/>
                    </a:lnTo>
                    <a:lnTo>
                      <a:pt x="1068" y="806"/>
                    </a:lnTo>
                    <a:lnTo>
                      <a:pt x="1059" y="811"/>
                    </a:lnTo>
                    <a:lnTo>
                      <a:pt x="1050" y="814"/>
                    </a:lnTo>
                    <a:lnTo>
                      <a:pt x="1040" y="816"/>
                    </a:lnTo>
                    <a:lnTo>
                      <a:pt x="1030" y="817"/>
                    </a:lnTo>
                    <a:lnTo>
                      <a:pt x="97" y="817"/>
                    </a:lnTo>
                    <a:lnTo>
                      <a:pt x="87" y="816"/>
                    </a:lnTo>
                    <a:lnTo>
                      <a:pt x="78" y="814"/>
                    </a:lnTo>
                    <a:lnTo>
                      <a:pt x="68" y="811"/>
                    </a:lnTo>
                    <a:lnTo>
                      <a:pt x="60" y="806"/>
                    </a:lnTo>
                    <a:lnTo>
                      <a:pt x="51" y="800"/>
                    </a:lnTo>
                    <a:lnTo>
                      <a:pt x="43" y="793"/>
                    </a:lnTo>
                    <a:lnTo>
                      <a:pt x="36" y="785"/>
                    </a:lnTo>
                    <a:lnTo>
                      <a:pt x="29" y="776"/>
                    </a:lnTo>
                    <a:lnTo>
                      <a:pt x="22" y="767"/>
                    </a:lnTo>
                    <a:lnTo>
                      <a:pt x="17" y="756"/>
                    </a:lnTo>
                    <a:lnTo>
                      <a:pt x="12" y="744"/>
                    </a:lnTo>
                    <a:lnTo>
                      <a:pt x="8" y="732"/>
                    </a:lnTo>
                    <a:lnTo>
                      <a:pt x="5" y="719"/>
                    </a:lnTo>
                    <a:lnTo>
                      <a:pt x="2" y="706"/>
                    </a:lnTo>
                    <a:lnTo>
                      <a:pt x="1" y="692"/>
                    </a:lnTo>
                    <a:lnTo>
                      <a:pt x="0" y="678"/>
                    </a:lnTo>
                    <a:lnTo>
                      <a:pt x="0" y="139"/>
                    </a:lnTo>
                    <a:close/>
                    <a:moveTo>
                      <a:pt x="6" y="678"/>
                    </a:moveTo>
                    <a:lnTo>
                      <a:pt x="7" y="691"/>
                    </a:lnTo>
                    <a:lnTo>
                      <a:pt x="8" y="704"/>
                    </a:lnTo>
                    <a:lnTo>
                      <a:pt x="10" y="716"/>
                    </a:lnTo>
                    <a:lnTo>
                      <a:pt x="14" y="728"/>
                    </a:lnTo>
                    <a:lnTo>
                      <a:pt x="17" y="740"/>
                    </a:lnTo>
                    <a:lnTo>
                      <a:pt x="22" y="751"/>
                    </a:lnTo>
                    <a:lnTo>
                      <a:pt x="27" y="761"/>
                    </a:lnTo>
                    <a:lnTo>
                      <a:pt x="33" y="770"/>
                    </a:lnTo>
                    <a:lnTo>
                      <a:pt x="39" y="778"/>
                    </a:lnTo>
                    <a:lnTo>
                      <a:pt x="46" y="786"/>
                    </a:lnTo>
                    <a:lnTo>
                      <a:pt x="54" y="792"/>
                    </a:lnTo>
                    <a:lnTo>
                      <a:pt x="62" y="798"/>
                    </a:lnTo>
                    <a:lnTo>
                      <a:pt x="70" y="802"/>
                    </a:lnTo>
                    <a:lnTo>
                      <a:pt x="79" y="805"/>
                    </a:lnTo>
                    <a:lnTo>
                      <a:pt x="88" y="807"/>
                    </a:lnTo>
                    <a:lnTo>
                      <a:pt x="97" y="808"/>
                    </a:lnTo>
                    <a:lnTo>
                      <a:pt x="1030" y="808"/>
                    </a:lnTo>
                    <a:lnTo>
                      <a:pt x="1039" y="807"/>
                    </a:lnTo>
                    <a:lnTo>
                      <a:pt x="1048" y="806"/>
                    </a:lnTo>
                    <a:lnTo>
                      <a:pt x="1057" y="802"/>
                    </a:lnTo>
                    <a:lnTo>
                      <a:pt x="1065" y="798"/>
                    </a:lnTo>
                    <a:lnTo>
                      <a:pt x="1073" y="792"/>
                    </a:lnTo>
                    <a:lnTo>
                      <a:pt x="1081" y="786"/>
                    </a:lnTo>
                    <a:lnTo>
                      <a:pt x="1088" y="778"/>
                    </a:lnTo>
                    <a:lnTo>
                      <a:pt x="1094" y="770"/>
                    </a:lnTo>
                    <a:lnTo>
                      <a:pt x="1100" y="761"/>
                    </a:lnTo>
                    <a:lnTo>
                      <a:pt x="1105" y="751"/>
                    </a:lnTo>
                    <a:lnTo>
                      <a:pt x="1110" y="740"/>
                    </a:lnTo>
                    <a:lnTo>
                      <a:pt x="1114" y="729"/>
                    </a:lnTo>
                    <a:lnTo>
                      <a:pt x="1117" y="717"/>
                    </a:lnTo>
                    <a:lnTo>
                      <a:pt x="1119" y="704"/>
                    </a:lnTo>
                    <a:lnTo>
                      <a:pt x="1120" y="691"/>
                    </a:lnTo>
                    <a:lnTo>
                      <a:pt x="1121" y="678"/>
                    </a:lnTo>
                    <a:lnTo>
                      <a:pt x="1121" y="139"/>
                    </a:lnTo>
                    <a:lnTo>
                      <a:pt x="1120" y="126"/>
                    </a:lnTo>
                    <a:lnTo>
                      <a:pt x="1119" y="113"/>
                    </a:lnTo>
                    <a:lnTo>
                      <a:pt x="1117" y="101"/>
                    </a:lnTo>
                    <a:lnTo>
                      <a:pt x="1114" y="89"/>
                    </a:lnTo>
                    <a:lnTo>
                      <a:pt x="1110" y="77"/>
                    </a:lnTo>
                    <a:lnTo>
                      <a:pt x="1105" y="67"/>
                    </a:lnTo>
                    <a:lnTo>
                      <a:pt x="1100" y="56"/>
                    </a:lnTo>
                    <a:lnTo>
                      <a:pt x="1094" y="47"/>
                    </a:lnTo>
                    <a:lnTo>
                      <a:pt x="1088" y="39"/>
                    </a:lnTo>
                    <a:lnTo>
                      <a:pt x="1081" y="31"/>
                    </a:lnTo>
                    <a:lnTo>
                      <a:pt x="1073" y="25"/>
                    </a:lnTo>
                    <a:lnTo>
                      <a:pt x="1066" y="19"/>
                    </a:lnTo>
                    <a:lnTo>
                      <a:pt x="1057" y="15"/>
                    </a:lnTo>
                    <a:lnTo>
                      <a:pt x="1049" y="12"/>
                    </a:lnTo>
                    <a:lnTo>
                      <a:pt x="1040" y="10"/>
                    </a:lnTo>
                    <a:lnTo>
                      <a:pt x="1030" y="9"/>
                    </a:lnTo>
                    <a:lnTo>
                      <a:pt x="97" y="9"/>
                    </a:lnTo>
                    <a:lnTo>
                      <a:pt x="88" y="10"/>
                    </a:lnTo>
                    <a:lnTo>
                      <a:pt x="79" y="11"/>
                    </a:lnTo>
                    <a:lnTo>
                      <a:pt x="70" y="15"/>
                    </a:lnTo>
                    <a:lnTo>
                      <a:pt x="62" y="19"/>
                    </a:lnTo>
                    <a:lnTo>
                      <a:pt x="54" y="24"/>
                    </a:lnTo>
                    <a:lnTo>
                      <a:pt x="46" y="31"/>
                    </a:lnTo>
                    <a:lnTo>
                      <a:pt x="39" y="39"/>
                    </a:lnTo>
                    <a:lnTo>
                      <a:pt x="33" y="47"/>
                    </a:lnTo>
                    <a:lnTo>
                      <a:pt x="27" y="56"/>
                    </a:lnTo>
                    <a:lnTo>
                      <a:pt x="22" y="66"/>
                    </a:lnTo>
                    <a:lnTo>
                      <a:pt x="18" y="77"/>
                    </a:lnTo>
                    <a:lnTo>
                      <a:pt x="14" y="88"/>
                    </a:lnTo>
                    <a:lnTo>
                      <a:pt x="11" y="100"/>
                    </a:lnTo>
                    <a:lnTo>
                      <a:pt x="8" y="113"/>
                    </a:lnTo>
                    <a:lnTo>
                      <a:pt x="7" y="126"/>
                    </a:lnTo>
                    <a:lnTo>
                      <a:pt x="6" y="139"/>
                    </a:lnTo>
                    <a:lnTo>
                      <a:pt x="6" y="67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10" name="Rectangle 86"/>
              <p:cNvSpPr>
                <a:spLocks noChangeArrowheads="1"/>
              </p:cNvSpPr>
              <p:nvPr/>
            </p:nvSpPr>
            <p:spPr bwMode="auto">
              <a:xfrm>
                <a:off x="3327" y="2328"/>
                <a:ext cx="687" cy="2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25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Voluntario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2" name="Freeform 88"/>
              <p:cNvSpPr>
                <a:spLocks noEditPoints="1"/>
              </p:cNvSpPr>
              <p:nvPr/>
            </p:nvSpPr>
            <p:spPr bwMode="auto">
              <a:xfrm>
                <a:off x="1519" y="3491"/>
                <a:ext cx="1089" cy="553"/>
              </a:xfrm>
              <a:custGeom>
                <a:avLst/>
                <a:gdLst/>
                <a:ahLst/>
                <a:cxnLst>
                  <a:cxn ang="0">
                    <a:pos x="2" y="78"/>
                  </a:cxn>
                  <a:cxn ang="0">
                    <a:pos x="8" y="51"/>
                  </a:cxn>
                  <a:cxn ang="0">
                    <a:pos x="20" y="29"/>
                  </a:cxn>
                  <a:cxn ang="0">
                    <a:pos x="35" y="12"/>
                  </a:cxn>
                  <a:cxn ang="0">
                    <a:pos x="54" y="2"/>
                  </a:cxn>
                  <a:cxn ang="0">
                    <a:pos x="1132" y="0"/>
                  </a:cxn>
                  <a:cxn ang="0">
                    <a:pos x="1152" y="4"/>
                  </a:cxn>
                  <a:cxn ang="0">
                    <a:pos x="1169" y="16"/>
                  </a:cxn>
                  <a:cxn ang="0">
                    <a:pos x="1184" y="35"/>
                  </a:cxn>
                  <a:cxn ang="0">
                    <a:pos x="1194" y="59"/>
                  </a:cxn>
                  <a:cxn ang="0">
                    <a:pos x="1199" y="87"/>
                  </a:cxn>
                  <a:cxn ang="0">
                    <a:pos x="1199" y="466"/>
                  </a:cxn>
                  <a:cxn ang="0">
                    <a:pos x="1194" y="494"/>
                  </a:cxn>
                  <a:cxn ang="0">
                    <a:pos x="1184" y="518"/>
                  </a:cxn>
                  <a:cxn ang="0">
                    <a:pos x="1170" y="537"/>
                  </a:cxn>
                  <a:cxn ang="0">
                    <a:pos x="1152" y="549"/>
                  </a:cxn>
                  <a:cxn ang="0">
                    <a:pos x="1132" y="553"/>
                  </a:cxn>
                  <a:cxn ang="0">
                    <a:pos x="54" y="552"/>
                  </a:cxn>
                  <a:cxn ang="0">
                    <a:pos x="36" y="542"/>
                  </a:cxn>
                  <a:cxn ang="0">
                    <a:pos x="20" y="525"/>
                  </a:cxn>
                  <a:cxn ang="0">
                    <a:pos x="9" y="503"/>
                  </a:cxn>
                  <a:cxn ang="0">
                    <a:pos x="2" y="476"/>
                  </a:cxn>
                  <a:cxn ang="0">
                    <a:pos x="0" y="97"/>
                  </a:cxn>
                  <a:cxn ang="0">
                    <a:pos x="12" y="473"/>
                  </a:cxn>
                  <a:cxn ang="0">
                    <a:pos x="17" y="495"/>
                  </a:cxn>
                  <a:cxn ang="0">
                    <a:pos x="27" y="514"/>
                  </a:cxn>
                  <a:cxn ang="0">
                    <a:pos x="40" y="529"/>
                  </a:cxn>
                  <a:cxn ang="0">
                    <a:pos x="56" y="537"/>
                  </a:cxn>
                  <a:cxn ang="0">
                    <a:pos x="1131" y="539"/>
                  </a:cxn>
                  <a:cxn ang="0">
                    <a:pos x="1149" y="535"/>
                  </a:cxn>
                  <a:cxn ang="0">
                    <a:pos x="1164" y="525"/>
                  </a:cxn>
                  <a:cxn ang="0">
                    <a:pos x="1176" y="509"/>
                  </a:cxn>
                  <a:cxn ang="0">
                    <a:pos x="1184" y="489"/>
                  </a:cxn>
                  <a:cxn ang="0">
                    <a:pos x="1189" y="465"/>
                  </a:cxn>
                  <a:cxn ang="0">
                    <a:pos x="1189" y="89"/>
                  </a:cxn>
                  <a:cxn ang="0">
                    <a:pos x="1185" y="66"/>
                  </a:cxn>
                  <a:cxn ang="0">
                    <a:pos x="1176" y="45"/>
                  </a:cxn>
                  <a:cxn ang="0">
                    <a:pos x="1164" y="29"/>
                  </a:cxn>
                  <a:cxn ang="0">
                    <a:pos x="1149" y="19"/>
                  </a:cxn>
                  <a:cxn ang="0">
                    <a:pos x="1132" y="15"/>
                  </a:cxn>
                  <a:cxn ang="0">
                    <a:pos x="56" y="16"/>
                  </a:cxn>
                  <a:cxn ang="0">
                    <a:pos x="41" y="25"/>
                  </a:cxn>
                  <a:cxn ang="0">
                    <a:pos x="28" y="39"/>
                  </a:cxn>
                  <a:cxn ang="0">
                    <a:pos x="18" y="58"/>
                  </a:cxn>
                  <a:cxn ang="0">
                    <a:pos x="12" y="80"/>
                  </a:cxn>
                  <a:cxn ang="0">
                    <a:pos x="10" y="456"/>
                  </a:cxn>
                </a:cxnLst>
                <a:rect l="0" t="0" r="r" b="b"/>
                <a:pathLst>
                  <a:path w="1199" h="553">
                    <a:moveTo>
                      <a:pt x="0" y="97"/>
                    </a:moveTo>
                    <a:lnTo>
                      <a:pt x="0" y="88"/>
                    </a:lnTo>
                    <a:lnTo>
                      <a:pt x="2" y="78"/>
                    </a:lnTo>
                    <a:lnTo>
                      <a:pt x="3" y="69"/>
                    </a:lnTo>
                    <a:lnTo>
                      <a:pt x="5" y="60"/>
                    </a:lnTo>
                    <a:lnTo>
                      <a:pt x="8" y="51"/>
                    </a:lnTo>
                    <a:lnTo>
                      <a:pt x="12" y="43"/>
                    </a:lnTo>
                    <a:lnTo>
                      <a:pt x="15" y="36"/>
                    </a:lnTo>
                    <a:lnTo>
                      <a:pt x="20" y="29"/>
                    </a:lnTo>
                    <a:lnTo>
                      <a:pt x="25" y="22"/>
                    </a:lnTo>
                    <a:lnTo>
                      <a:pt x="30" y="17"/>
                    </a:lnTo>
                    <a:lnTo>
                      <a:pt x="35" y="12"/>
                    </a:lnTo>
                    <a:lnTo>
                      <a:pt x="41" y="8"/>
                    </a:lnTo>
                    <a:lnTo>
                      <a:pt x="47" y="4"/>
                    </a:lnTo>
                    <a:lnTo>
                      <a:pt x="54" y="2"/>
                    </a:lnTo>
                    <a:lnTo>
                      <a:pt x="61" y="0"/>
                    </a:lnTo>
                    <a:lnTo>
                      <a:pt x="67" y="0"/>
                    </a:lnTo>
                    <a:lnTo>
                      <a:pt x="1132" y="0"/>
                    </a:lnTo>
                    <a:lnTo>
                      <a:pt x="1138" y="0"/>
                    </a:lnTo>
                    <a:lnTo>
                      <a:pt x="1145" y="2"/>
                    </a:lnTo>
                    <a:lnTo>
                      <a:pt x="1152" y="4"/>
                    </a:lnTo>
                    <a:lnTo>
                      <a:pt x="1158" y="8"/>
                    </a:lnTo>
                    <a:lnTo>
                      <a:pt x="1164" y="12"/>
                    </a:lnTo>
                    <a:lnTo>
                      <a:pt x="1169" y="16"/>
                    </a:lnTo>
                    <a:lnTo>
                      <a:pt x="1175" y="22"/>
                    </a:lnTo>
                    <a:lnTo>
                      <a:pt x="1179" y="28"/>
                    </a:lnTo>
                    <a:lnTo>
                      <a:pt x="1184" y="35"/>
                    </a:lnTo>
                    <a:lnTo>
                      <a:pt x="1188" y="43"/>
                    </a:lnTo>
                    <a:lnTo>
                      <a:pt x="1191" y="51"/>
                    </a:lnTo>
                    <a:lnTo>
                      <a:pt x="1194" y="59"/>
                    </a:lnTo>
                    <a:lnTo>
                      <a:pt x="1196" y="68"/>
                    </a:lnTo>
                    <a:lnTo>
                      <a:pt x="1198" y="77"/>
                    </a:lnTo>
                    <a:lnTo>
                      <a:pt x="1199" y="87"/>
                    </a:lnTo>
                    <a:lnTo>
                      <a:pt x="1199" y="97"/>
                    </a:lnTo>
                    <a:lnTo>
                      <a:pt x="1199" y="456"/>
                    </a:lnTo>
                    <a:lnTo>
                      <a:pt x="1199" y="466"/>
                    </a:lnTo>
                    <a:lnTo>
                      <a:pt x="1198" y="476"/>
                    </a:lnTo>
                    <a:lnTo>
                      <a:pt x="1196" y="485"/>
                    </a:lnTo>
                    <a:lnTo>
                      <a:pt x="1194" y="494"/>
                    </a:lnTo>
                    <a:lnTo>
                      <a:pt x="1191" y="502"/>
                    </a:lnTo>
                    <a:lnTo>
                      <a:pt x="1188" y="511"/>
                    </a:lnTo>
                    <a:lnTo>
                      <a:pt x="1184" y="518"/>
                    </a:lnTo>
                    <a:lnTo>
                      <a:pt x="1180" y="525"/>
                    </a:lnTo>
                    <a:lnTo>
                      <a:pt x="1175" y="531"/>
                    </a:lnTo>
                    <a:lnTo>
                      <a:pt x="1170" y="537"/>
                    </a:lnTo>
                    <a:lnTo>
                      <a:pt x="1164" y="542"/>
                    </a:lnTo>
                    <a:lnTo>
                      <a:pt x="1158" y="546"/>
                    </a:lnTo>
                    <a:lnTo>
                      <a:pt x="1152" y="549"/>
                    </a:lnTo>
                    <a:lnTo>
                      <a:pt x="1146" y="551"/>
                    </a:lnTo>
                    <a:lnTo>
                      <a:pt x="1139" y="553"/>
                    </a:lnTo>
                    <a:lnTo>
                      <a:pt x="1132" y="553"/>
                    </a:lnTo>
                    <a:lnTo>
                      <a:pt x="68" y="553"/>
                    </a:lnTo>
                    <a:lnTo>
                      <a:pt x="61" y="553"/>
                    </a:lnTo>
                    <a:lnTo>
                      <a:pt x="54" y="552"/>
                    </a:lnTo>
                    <a:lnTo>
                      <a:pt x="48" y="549"/>
                    </a:lnTo>
                    <a:lnTo>
                      <a:pt x="42" y="546"/>
                    </a:lnTo>
                    <a:lnTo>
                      <a:pt x="36" y="542"/>
                    </a:lnTo>
                    <a:lnTo>
                      <a:pt x="30" y="537"/>
                    </a:lnTo>
                    <a:lnTo>
                      <a:pt x="25" y="532"/>
                    </a:lnTo>
                    <a:lnTo>
                      <a:pt x="20" y="525"/>
                    </a:lnTo>
                    <a:lnTo>
                      <a:pt x="16" y="519"/>
                    </a:lnTo>
                    <a:lnTo>
                      <a:pt x="12" y="511"/>
                    </a:lnTo>
                    <a:lnTo>
                      <a:pt x="9" y="503"/>
                    </a:lnTo>
                    <a:lnTo>
                      <a:pt x="6" y="495"/>
                    </a:lnTo>
                    <a:lnTo>
                      <a:pt x="3" y="486"/>
                    </a:lnTo>
                    <a:lnTo>
                      <a:pt x="2" y="476"/>
                    </a:lnTo>
                    <a:lnTo>
                      <a:pt x="0" y="467"/>
                    </a:lnTo>
                    <a:lnTo>
                      <a:pt x="0" y="457"/>
                    </a:lnTo>
                    <a:lnTo>
                      <a:pt x="0" y="97"/>
                    </a:lnTo>
                    <a:close/>
                    <a:moveTo>
                      <a:pt x="10" y="456"/>
                    </a:moveTo>
                    <a:lnTo>
                      <a:pt x="11" y="464"/>
                    </a:lnTo>
                    <a:lnTo>
                      <a:pt x="12" y="473"/>
                    </a:lnTo>
                    <a:lnTo>
                      <a:pt x="13" y="481"/>
                    </a:lnTo>
                    <a:lnTo>
                      <a:pt x="15" y="488"/>
                    </a:lnTo>
                    <a:lnTo>
                      <a:pt x="17" y="495"/>
                    </a:lnTo>
                    <a:lnTo>
                      <a:pt x="20" y="502"/>
                    </a:lnTo>
                    <a:lnTo>
                      <a:pt x="24" y="508"/>
                    </a:lnTo>
                    <a:lnTo>
                      <a:pt x="27" y="514"/>
                    </a:lnTo>
                    <a:lnTo>
                      <a:pt x="31" y="520"/>
                    </a:lnTo>
                    <a:lnTo>
                      <a:pt x="36" y="524"/>
                    </a:lnTo>
                    <a:lnTo>
                      <a:pt x="40" y="529"/>
                    </a:lnTo>
                    <a:lnTo>
                      <a:pt x="45" y="532"/>
                    </a:lnTo>
                    <a:lnTo>
                      <a:pt x="51" y="535"/>
                    </a:lnTo>
                    <a:lnTo>
                      <a:pt x="56" y="537"/>
                    </a:lnTo>
                    <a:lnTo>
                      <a:pt x="62" y="538"/>
                    </a:lnTo>
                    <a:lnTo>
                      <a:pt x="68" y="539"/>
                    </a:lnTo>
                    <a:lnTo>
                      <a:pt x="1131" y="539"/>
                    </a:lnTo>
                    <a:lnTo>
                      <a:pt x="1137" y="538"/>
                    </a:lnTo>
                    <a:lnTo>
                      <a:pt x="1143" y="537"/>
                    </a:lnTo>
                    <a:lnTo>
                      <a:pt x="1149" y="535"/>
                    </a:lnTo>
                    <a:lnTo>
                      <a:pt x="1154" y="532"/>
                    </a:lnTo>
                    <a:lnTo>
                      <a:pt x="1159" y="529"/>
                    </a:lnTo>
                    <a:lnTo>
                      <a:pt x="1164" y="525"/>
                    </a:lnTo>
                    <a:lnTo>
                      <a:pt x="1168" y="520"/>
                    </a:lnTo>
                    <a:lnTo>
                      <a:pt x="1172" y="515"/>
                    </a:lnTo>
                    <a:lnTo>
                      <a:pt x="1176" y="509"/>
                    </a:lnTo>
                    <a:lnTo>
                      <a:pt x="1179" y="503"/>
                    </a:lnTo>
                    <a:lnTo>
                      <a:pt x="1182" y="496"/>
                    </a:lnTo>
                    <a:lnTo>
                      <a:pt x="1184" y="489"/>
                    </a:lnTo>
                    <a:lnTo>
                      <a:pt x="1186" y="481"/>
                    </a:lnTo>
                    <a:lnTo>
                      <a:pt x="1188" y="473"/>
                    </a:lnTo>
                    <a:lnTo>
                      <a:pt x="1189" y="465"/>
                    </a:lnTo>
                    <a:lnTo>
                      <a:pt x="1189" y="456"/>
                    </a:lnTo>
                    <a:lnTo>
                      <a:pt x="1189" y="98"/>
                    </a:lnTo>
                    <a:lnTo>
                      <a:pt x="1189" y="89"/>
                    </a:lnTo>
                    <a:lnTo>
                      <a:pt x="1188" y="81"/>
                    </a:lnTo>
                    <a:lnTo>
                      <a:pt x="1186" y="73"/>
                    </a:lnTo>
                    <a:lnTo>
                      <a:pt x="1185" y="66"/>
                    </a:lnTo>
                    <a:lnTo>
                      <a:pt x="1182" y="58"/>
                    </a:lnTo>
                    <a:lnTo>
                      <a:pt x="1179" y="51"/>
                    </a:lnTo>
                    <a:lnTo>
                      <a:pt x="1176" y="45"/>
                    </a:lnTo>
                    <a:lnTo>
                      <a:pt x="1172" y="39"/>
                    </a:lnTo>
                    <a:lnTo>
                      <a:pt x="1168" y="34"/>
                    </a:lnTo>
                    <a:lnTo>
                      <a:pt x="1164" y="29"/>
                    </a:lnTo>
                    <a:lnTo>
                      <a:pt x="1159" y="25"/>
                    </a:lnTo>
                    <a:lnTo>
                      <a:pt x="1154" y="21"/>
                    </a:lnTo>
                    <a:lnTo>
                      <a:pt x="1149" y="19"/>
                    </a:lnTo>
                    <a:lnTo>
                      <a:pt x="1144" y="17"/>
                    </a:lnTo>
                    <a:lnTo>
                      <a:pt x="1138" y="15"/>
                    </a:lnTo>
                    <a:lnTo>
                      <a:pt x="1132" y="15"/>
                    </a:lnTo>
                    <a:lnTo>
                      <a:pt x="68" y="15"/>
                    </a:lnTo>
                    <a:lnTo>
                      <a:pt x="62" y="15"/>
                    </a:lnTo>
                    <a:lnTo>
                      <a:pt x="56" y="16"/>
                    </a:lnTo>
                    <a:lnTo>
                      <a:pt x="51" y="18"/>
                    </a:lnTo>
                    <a:lnTo>
                      <a:pt x="46" y="21"/>
                    </a:lnTo>
                    <a:lnTo>
                      <a:pt x="41" y="25"/>
                    </a:lnTo>
                    <a:lnTo>
                      <a:pt x="36" y="29"/>
                    </a:lnTo>
                    <a:lnTo>
                      <a:pt x="32" y="34"/>
                    </a:lnTo>
                    <a:lnTo>
                      <a:pt x="28" y="39"/>
                    </a:lnTo>
                    <a:lnTo>
                      <a:pt x="24" y="45"/>
                    </a:lnTo>
                    <a:lnTo>
                      <a:pt x="20" y="51"/>
                    </a:lnTo>
                    <a:lnTo>
                      <a:pt x="18" y="58"/>
                    </a:lnTo>
                    <a:lnTo>
                      <a:pt x="15" y="65"/>
                    </a:lnTo>
                    <a:lnTo>
                      <a:pt x="13" y="72"/>
                    </a:lnTo>
                    <a:lnTo>
                      <a:pt x="12" y="80"/>
                    </a:lnTo>
                    <a:lnTo>
                      <a:pt x="11" y="88"/>
                    </a:lnTo>
                    <a:lnTo>
                      <a:pt x="10" y="97"/>
                    </a:lnTo>
                    <a:lnTo>
                      <a:pt x="10" y="456"/>
                    </a:lnTo>
                    <a:close/>
                  </a:path>
                </a:pathLst>
              </a:custGeom>
              <a:solidFill>
                <a:srgbClr val="C0504D"/>
              </a:solidFill>
              <a:ln w="0" cap="flat">
                <a:solidFill>
                  <a:srgbClr val="C050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14" name="Rectangle 90"/>
              <p:cNvSpPr>
                <a:spLocks noChangeArrowheads="1"/>
              </p:cNvSpPr>
              <p:nvPr/>
            </p:nvSpPr>
            <p:spPr bwMode="auto">
              <a:xfrm>
                <a:off x="1618" y="3649"/>
                <a:ext cx="725" cy="2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25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bligatorio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5" name="Freeform 91"/>
              <p:cNvSpPr>
                <a:spLocks/>
              </p:cNvSpPr>
              <p:nvPr/>
            </p:nvSpPr>
            <p:spPr bwMode="auto">
              <a:xfrm>
                <a:off x="1244" y="2044"/>
                <a:ext cx="1190" cy="808"/>
              </a:xfrm>
              <a:custGeom>
                <a:avLst/>
                <a:gdLst/>
                <a:ahLst/>
                <a:cxnLst>
                  <a:cxn ang="0">
                    <a:pos x="0" y="724"/>
                  </a:cxn>
                  <a:cxn ang="0">
                    <a:pos x="724" y="0"/>
                  </a:cxn>
                  <a:cxn ang="0">
                    <a:pos x="8476" y="0"/>
                  </a:cxn>
                  <a:cxn ang="0">
                    <a:pos x="9200" y="724"/>
                  </a:cxn>
                  <a:cxn ang="0">
                    <a:pos x="9200" y="3620"/>
                  </a:cxn>
                  <a:cxn ang="0">
                    <a:pos x="8476" y="4344"/>
                  </a:cxn>
                  <a:cxn ang="0">
                    <a:pos x="724" y="4344"/>
                  </a:cxn>
                  <a:cxn ang="0">
                    <a:pos x="0" y="3620"/>
                  </a:cxn>
                  <a:cxn ang="0">
                    <a:pos x="0" y="724"/>
                  </a:cxn>
                </a:cxnLst>
                <a:rect l="0" t="0" r="r" b="b"/>
                <a:pathLst>
                  <a:path w="9200" h="4344">
                    <a:moveTo>
                      <a:pt x="0" y="724"/>
                    </a:moveTo>
                    <a:cubicBezTo>
                      <a:pt x="0" y="325"/>
                      <a:pt x="325" y="0"/>
                      <a:pt x="724" y="0"/>
                    </a:cubicBezTo>
                    <a:lnTo>
                      <a:pt x="8476" y="0"/>
                    </a:lnTo>
                    <a:cubicBezTo>
                      <a:pt x="8876" y="0"/>
                      <a:pt x="9200" y="325"/>
                      <a:pt x="9200" y="724"/>
                    </a:cubicBezTo>
                    <a:lnTo>
                      <a:pt x="9200" y="3620"/>
                    </a:lnTo>
                    <a:cubicBezTo>
                      <a:pt x="9200" y="4020"/>
                      <a:pt x="8876" y="4344"/>
                      <a:pt x="8476" y="4344"/>
                    </a:cubicBezTo>
                    <a:lnTo>
                      <a:pt x="724" y="4344"/>
                    </a:lnTo>
                    <a:cubicBezTo>
                      <a:pt x="325" y="4344"/>
                      <a:pt x="0" y="4020"/>
                      <a:pt x="0" y="3620"/>
                    </a:cubicBezTo>
                    <a:lnTo>
                      <a:pt x="0" y="72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16" name="Freeform 92"/>
              <p:cNvSpPr>
                <a:spLocks noEditPoints="1"/>
              </p:cNvSpPr>
              <p:nvPr/>
            </p:nvSpPr>
            <p:spPr bwMode="auto">
              <a:xfrm>
                <a:off x="1239" y="2037"/>
                <a:ext cx="1200" cy="823"/>
              </a:xfrm>
              <a:custGeom>
                <a:avLst/>
                <a:gdLst/>
                <a:ahLst/>
                <a:cxnLst>
                  <a:cxn ang="0">
                    <a:pos x="2" y="114"/>
                  </a:cxn>
                  <a:cxn ang="0">
                    <a:pos x="12" y="75"/>
                  </a:cxn>
                  <a:cxn ang="0">
                    <a:pos x="29" y="42"/>
                  </a:cxn>
                  <a:cxn ang="0">
                    <a:pos x="51" y="17"/>
                  </a:cxn>
                  <a:cxn ang="0">
                    <a:pos x="78" y="3"/>
                  </a:cxn>
                  <a:cxn ang="0">
                    <a:pos x="1101" y="0"/>
                  </a:cxn>
                  <a:cxn ang="0">
                    <a:pos x="1130" y="6"/>
                  </a:cxn>
                  <a:cxn ang="0">
                    <a:pos x="1156" y="24"/>
                  </a:cxn>
                  <a:cxn ang="0">
                    <a:pos x="1177" y="51"/>
                  </a:cxn>
                  <a:cxn ang="0">
                    <a:pos x="1192" y="87"/>
                  </a:cxn>
                  <a:cxn ang="0">
                    <a:pos x="1199" y="127"/>
                  </a:cxn>
                  <a:cxn ang="0">
                    <a:pos x="1199" y="695"/>
                  </a:cxn>
                  <a:cxn ang="0">
                    <a:pos x="1192" y="736"/>
                  </a:cxn>
                  <a:cxn ang="0">
                    <a:pos x="1177" y="771"/>
                  </a:cxn>
                  <a:cxn ang="0">
                    <a:pos x="1157" y="799"/>
                  </a:cxn>
                  <a:cxn ang="0">
                    <a:pos x="1131" y="816"/>
                  </a:cxn>
                  <a:cxn ang="0">
                    <a:pos x="1101" y="823"/>
                  </a:cxn>
                  <a:cxn ang="0">
                    <a:pos x="79" y="820"/>
                  </a:cxn>
                  <a:cxn ang="0">
                    <a:pos x="52" y="806"/>
                  </a:cxn>
                  <a:cxn ang="0">
                    <a:pos x="29" y="782"/>
                  </a:cxn>
                  <a:cxn ang="0">
                    <a:pos x="12" y="749"/>
                  </a:cxn>
                  <a:cxn ang="0">
                    <a:pos x="2" y="710"/>
                  </a:cxn>
                  <a:cxn ang="0">
                    <a:pos x="0" y="142"/>
                  </a:cxn>
                  <a:cxn ang="0">
                    <a:pos x="12" y="706"/>
                  </a:cxn>
                  <a:cxn ang="0">
                    <a:pos x="21" y="741"/>
                  </a:cxn>
                  <a:cxn ang="0">
                    <a:pos x="36" y="771"/>
                  </a:cxn>
                  <a:cxn ang="0">
                    <a:pos x="56" y="793"/>
                  </a:cxn>
                  <a:cxn ang="0">
                    <a:pos x="81" y="805"/>
                  </a:cxn>
                  <a:cxn ang="0">
                    <a:pos x="1101" y="808"/>
                  </a:cxn>
                  <a:cxn ang="0">
                    <a:pos x="1127" y="802"/>
                  </a:cxn>
                  <a:cxn ang="0">
                    <a:pos x="1150" y="787"/>
                  </a:cxn>
                  <a:cxn ang="0">
                    <a:pos x="1169" y="762"/>
                  </a:cxn>
                  <a:cxn ang="0">
                    <a:pos x="1183" y="731"/>
                  </a:cxn>
                  <a:cxn ang="0">
                    <a:pos x="1189" y="694"/>
                  </a:cxn>
                  <a:cxn ang="0">
                    <a:pos x="1189" y="130"/>
                  </a:cxn>
                  <a:cxn ang="0">
                    <a:pos x="1183" y="93"/>
                  </a:cxn>
                  <a:cxn ang="0">
                    <a:pos x="1169" y="62"/>
                  </a:cxn>
                  <a:cxn ang="0">
                    <a:pos x="1151" y="37"/>
                  </a:cxn>
                  <a:cxn ang="0">
                    <a:pos x="1128" y="21"/>
                  </a:cxn>
                  <a:cxn ang="0">
                    <a:pos x="1101" y="15"/>
                  </a:cxn>
                  <a:cxn ang="0">
                    <a:pos x="81" y="17"/>
                  </a:cxn>
                  <a:cxn ang="0">
                    <a:pos x="57" y="30"/>
                  </a:cxn>
                  <a:cxn ang="0">
                    <a:pos x="36" y="52"/>
                  </a:cxn>
                  <a:cxn ang="0">
                    <a:pos x="21" y="81"/>
                  </a:cxn>
                  <a:cxn ang="0">
                    <a:pos x="12" y="116"/>
                  </a:cxn>
                  <a:cxn ang="0">
                    <a:pos x="10" y="681"/>
                  </a:cxn>
                </a:cxnLst>
                <a:rect l="0" t="0" r="r" b="b"/>
                <a:pathLst>
                  <a:path w="1200" h="823">
                    <a:moveTo>
                      <a:pt x="0" y="142"/>
                    </a:moveTo>
                    <a:lnTo>
                      <a:pt x="0" y="128"/>
                    </a:lnTo>
                    <a:lnTo>
                      <a:pt x="2" y="114"/>
                    </a:lnTo>
                    <a:lnTo>
                      <a:pt x="4" y="100"/>
                    </a:lnTo>
                    <a:lnTo>
                      <a:pt x="7" y="87"/>
                    </a:lnTo>
                    <a:lnTo>
                      <a:pt x="12" y="75"/>
                    </a:lnTo>
                    <a:lnTo>
                      <a:pt x="16" y="63"/>
                    </a:lnTo>
                    <a:lnTo>
                      <a:pt x="22" y="52"/>
                    </a:lnTo>
                    <a:lnTo>
                      <a:pt x="29" y="42"/>
                    </a:lnTo>
                    <a:lnTo>
                      <a:pt x="36" y="33"/>
                    </a:lnTo>
                    <a:lnTo>
                      <a:pt x="43" y="25"/>
                    </a:lnTo>
                    <a:lnTo>
                      <a:pt x="51" y="17"/>
                    </a:lnTo>
                    <a:lnTo>
                      <a:pt x="60" y="11"/>
                    </a:lnTo>
                    <a:lnTo>
                      <a:pt x="69" y="6"/>
                    </a:lnTo>
                    <a:lnTo>
                      <a:pt x="78" y="3"/>
                    </a:lnTo>
                    <a:lnTo>
                      <a:pt x="88" y="1"/>
                    </a:lnTo>
                    <a:lnTo>
                      <a:pt x="98" y="0"/>
                    </a:lnTo>
                    <a:lnTo>
                      <a:pt x="1101" y="0"/>
                    </a:lnTo>
                    <a:lnTo>
                      <a:pt x="1111" y="1"/>
                    </a:lnTo>
                    <a:lnTo>
                      <a:pt x="1121" y="3"/>
                    </a:lnTo>
                    <a:lnTo>
                      <a:pt x="1130" y="6"/>
                    </a:lnTo>
                    <a:lnTo>
                      <a:pt x="1139" y="11"/>
                    </a:lnTo>
                    <a:lnTo>
                      <a:pt x="1148" y="17"/>
                    </a:lnTo>
                    <a:lnTo>
                      <a:pt x="1156" y="24"/>
                    </a:lnTo>
                    <a:lnTo>
                      <a:pt x="1164" y="32"/>
                    </a:lnTo>
                    <a:lnTo>
                      <a:pt x="1171" y="41"/>
                    </a:lnTo>
                    <a:lnTo>
                      <a:pt x="1177" y="51"/>
                    </a:lnTo>
                    <a:lnTo>
                      <a:pt x="1183" y="62"/>
                    </a:lnTo>
                    <a:lnTo>
                      <a:pt x="1188" y="74"/>
                    </a:lnTo>
                    <a:lnTo>
                      <a:pt x="1192" y="87"/>
                    </a:lnTo>
                    <a:lnTo>
                      <a:pt x="1195" y="100"/>
                    </a:lnTo>
                    <a:lnTo>
                      <a:pt x="1198" y="113"/>
                    </a:lnTo>
                    <a:lnTo>
                      <a:pt x="1199" y="127"/>
                    </a:lnTo>
                    <a:lnTo>
                      <a:pt x="1200" y="142"/>
                    </a:lnTo>
                    <a:lnTo>
                      <a:pt x="1200" y="681"/>
                    </a:lnTo>
                    <a:lnTo>
                      <a:pt x="1199" y="695"/>
                    </a:lnTo>
                    <a:lnTo>
                      <a:pt x="1198" y="709"/>
                    </a:lnTo>
                    <a:lnTo>
                      <a:pt x="1196" y="723"/>
                    </a:lnTo>
                    <a:lnTo>
                      <a:pt x="1192" y="736"/>
                    </a:lnTo>
                    <a:lnTo>
                      <a:pt x="1188" y="748"/>
                    </a:lnTo>
                    <a:lnTo>
                      <a:pt x="1183" y="760"/>
                    </a:lnTo>
                    <a:lnTo>
                      <a:pt x="1177" y="771"/>
                    </a:lnTo>
                    <a:lnTo>
                      <a:pt x="1171" y="781"/>
                    </a:lnTo>
                    <a:lnTo>
                      <a:pt x="1164" y="790"/>
                    </a:lnTo>
                    <a:lnTo>
                      <a:pt x="1157" y="799"/>
                    </a:lnTo>
                    <a:lnTo>
                      <a:pt x="1148" y="806"/>
                    </a:lnTo>
                    <a:lnTo>
                      <a:pt x="1140" y="812"/>
                    </a:lnTo>
                    <a:lnTo>
                      <a:pt x="1131" y="816"/>
                    </a:lnTo>
                    <a:lnTo>
                      <a:pt x="1121" y="820"/>
                    </a:lnTo>
                    <a:lnTo>
                      <a:pt x="1112" y="822"/>
                    </a:lnTo>
                    <a:lnTo>
                      <a:pt x="1101" y="823"/>
                    </a:lnTo>
                    <a:lnTo>
                      <a:pt x="99" y="823"/>
                    </a:lnTo>
                    <a:lnTo>
                      <a:pt x="89" y="822"/>
                    </a:lnTo>
                    <a:lnTo>
                      <a:pt x="79" y="820"/>
                    </a:lnTo>
                    <a:lnTo>
                      <a:pt x="69" y="817"/>
                    </a:lnTo>
                    <a:lnTo>
                      <a:pt x="60" y="812"/>
                    </a:lnTo>
                    <a:lnTo>
                      <a:pt x="52" y="806"/>
                    </a:lnTo>
                    <a:lnTo>
                      <a:pt x="44" y="799"/>
                    </a:lnTo>
                    <a:lnTo>
                      <a:pt x="36" y="791"/>
                    </a:lnTo>
                    <a:lnTo>
                      <a:pt x="29" y="782"/>
                    </a:lnTo>
                    <a:lnTo>
                      <a:pt x="22" y="772"/>
                    </a:lnTo>
                    <a:lnTo>
                      <a:pt x="17" y="761"/>
                    </a:lnTo>
                    <a:lnTo>
                      <a:pt x="12" y="749"/>
                    </a:lnTo>
                    <a:lnTo>
                      <a:pt x="8" y="737"/>
                    </a:lnTo>
                    <a:lnTo>
                      <a:pt x="4" y="724"/>
                    </a:lnTo>
                    <a:lnTo>
                      <a:pt x="2" y="710"/>
                    </a:lnTo>
                    <a:lnTo>
                      <a:pt x="0" y="696"/>
                    </a:lnTo>
                    <a:lnTo>
                      <a:pt x="0" y="681"/>
                    </a:lnTo>
                    <a:lnTo>
                      <a:pt x="0" y="142"/>
                    </a:lnTo>
                    <a:close/>
                    <a:moveTo>
                      <a:pt x="10" y="681"/>
                    </a:moveTo>
                    <a:lnTo>
                      <a:pt x="11" y="693"/>
                    </a:lnTo>
                    <a:lnTo>
                      <a:pt x="12" y="706"/>
                    </a:lnTo>
                    <a:lnTo>
                      <a:pt x="14" y="718"/>
                    </a:lnTo>
                    <a:lnTo>
                      <a:pt x="17" y="730"/>
                    </a:lnTo>
                    <a:lnTo>
                      <a:pt x="21" y="741"/>
                    </a:lnTo>
                    <a:lnTo>
                      <a:pt x="25" y="752"/>
                    </a:lnTo>
                    <a:lnTo>
                      <a:pt x="30" y="762"/>
                    </a:lnTo>
                    <a:lnTo>
                      <a:pt x="36" y="771"/>
                    </a:lnTo>
                    <a:lnTo>
                      <a:pt x="42" y="779"/>
                    </a:lnTo>
                    <a:lnTo>
                      <a:pt x="49" y="786"/>
                    </a:lnTo>
                    <a:lnTo>
                      <a:pt x="56" y="793"/>
                    </a:lnTo>
                    <a:lnTo>
                      <a:pt x="64" y="798"/>
                    </a:lnTo>
                    <a:lnTo>
                      <a:pt x="72" y="802"/>
                    </a:lnTo>
                    <a:lnTo>
                      <a:pt x="81" y="805"/>
                    </a:lnTo>
                    <a:lnTo>
                      <a:pt x="89" y="807"/>
                    </a:lnTo>
                    <a:lnTo>
                      <a:pt x="99" y="808"/>
                    </a:lnTo>
                    <a:lnTo>
                      <a:pt x="1101" y="808"/>
                    </a:lnTo>
                    <a:lnTo>
                      <a:pt x="1110" y="807"/>
                    </a:lnTo>
                    <a:lnTo>
                      <a:pt x="1119" y="806"/>
                    </a:lnTo>
                    <a:lnTo>
                      <a:pt x="1127" y="802"/>
                    </a:lnTo>
                    <a:lnTo>
                      <a:pt x="1135" y="798"/>
                    </a:lnTo>
                    <a:lnTo>
                      <a:pt x="1143" y="793"/>
                    </a:lnTo>
                    <a:lnTo>
                      <a:pt x="1150" y="787"/>
                    </a:lnTo>
                    <a:lnTo>
                      <a:pt x="1157" y="779"/>
                    </a:lnTo>
                    <a:lnTo>
                      <a:pt x="1164" y="771"/>
                    </a:lnTo>
                    <a:lnTo>
                      <a:pt x="1169" y="762"/>
                    </a:lnTo>
                    <a:lnTo>
                      <a:pt x="1174" y="752"/>
                    </a:lnTo>
                    <a:lnTo>
                      <a:pt x="1179" y="742"/>
                    </a:lnTo>
                    <a:lnTo>
                      <a:pt x="1183" y="731"/>
                    </a:lnTo>
                    <a:lnTo>
                      <a:pt x="1186" y="719"/>
                    </a:lnTo>
                    <a:lnTo>
                      <a:pt x="1188" y="707"/>
                    </a:lnTo>
                    <a:lnTo>
                      <a:pt x="1189" y="694"/>
                    </a:lnTo>
                    <a:lnTo>
                      <a:pt x="1190" y="681"/>
                    </a:lnTo>
                    <a:lnTo>
                      <a:pt x="1190" y="143"/>
                    </a:lnTo>
                    <a:lnTo>
                      <a:pt x="1189" y="130"/>
                    </a:lnTo>
                    <a:lnTo>
                      <a:pt x="1188" y="117"/>
                    </a:lnTo>
                    <a:lnTo>
                      <a:pt x="1186" y="105"/>
                    </a:lnTo>
                    <a:lnTo>
                      <a:pt x="1183" y="93"/>
                    </a:lnTo>
                    <a:lnTo>
                      <a:pt x="1179" y="82"/>
                    </a:lnTo>
                    <a:lnTo>
                      <a:pt x="1175" y="71"/>
                    </a:lnTo>
                    <a:lnTo>
                      <a:pt x="1169" y="62"/>
                    </a:lnTo>
                    <a:lnTo>
                      <a:pt x="1164" y="52"/>
                    </a:lnTo>
                    <a:lnTo>
                      <a:pt x="1158" y="44"/>
                    </a:lnTo>
                    <a:lnTo>
                      <a:pt x="1151" y="37"/>
                    </a:lnTo>
                    <a:lnTo>
                      <a:pt x="1143" y="30"/>
                    </a:lnTo>
                    <a:lnTo>
                      <a:pt x="1136" y="25"/>
                    </a:lnTo>
                    <a:lnTo>
                      <a:pt x="1128" y="21"/>
                    </a:lnTo>
                    <a:lnTo>
                      <a:pt x="1119" y="18"/>
                    </a:lnTo>
                    <a:lnTo>
                      <a:pt x="1110" y="16"/>
                    </a:lnTo>
                    <a:lnTo>
                      <a:pt x="1101" y="15"/>
                    </a:lnTo>
                    <a:lnTo>
                      <a:pt x="99" y="15"/>
                    </a:lnTo>
                    <a:lnTo>
                      <a:pt x="90" y="16"/>
                    </a:lnTo>
                    <a:lnTo>
                      <a:pt x="81" y="17"/>
                    </a:lnTo>
                    <a:lnTo>
                      <a:pt x="72" y="21"/>
                    </a:lnTo>
                    <a:lnTo>
                      <a:pt x="64" y="25"/>
                    </a:lnTo>
                    <a:lnTo>
                      <a:pt x="57" y="30"/>
                    </a:lnTo>
                    <a:lnTo>
                      <a:pt x="49" y="37"/>
                    </a:lnTo>
                    <a:lnTo>
                      <a:pt x="42" y="44"/>
                    </a:lnTo>
                    <a:lnTo>
                      <a:pt x="36" y="52"/>
                    </a:lnTo>
                    <a:lnTo>
                      <a:pt x="30" y="61"/>
                    </a:lnTo>
                    <a:lnTo>
                      <a:pt x="25" y="71"/>
                    </a:lnTo>
                    <a:lnTo>
                      <a:pt x="21" y="81"/>
                    </a:lnTo>
                    <a:lnTo>
                      <a:pt x="17" y="92"/>
                    </a:lnTo>
                    <a:lnTo>
                      <a:pt x="14" y="104"/>
                    </a:lnTo>
                    <a:lnTo>
                      <a:pt x="12" y="116"/>
                    </a:lnTo>
                    <a:lnTo>
                      <a:pt x="11" y="129"/>
                    </a:lnTo>
                    <a:lnTo>
                      <a:pt x="10" y="142"/>
                    </a:lnTo>
                    <a:lnTo>
                      <a:pt x="10" y="681"/>
                    </a:lnTo>
                    <a:close/>
                  </a:path>
                </a:pathLst>
              </a:custGeom>
              <a:solidFill>
                <a:srgbClr val="C0504D"/>
              </a:solidFill>
              <a:ln w="0" cap="flat">
                <a:solidFill>
                  <a:srgbClr val="C050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20" name="Rectangle 96"/>
              <p:cNvSpPr>
                <a:spLocks noChangeArrowheads="1"/>
              </p:cNvSpPr>
              <p:nvPr/>
            </p:nvSpPr>
            <p:spPr bwMode="auto">
              <a:xfrm>
                <a:off x="1292" y="2069"/>
                <a:ext cx="1134" cy="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s-ES" sz="2000" dirty="0" smtClean="0">
                    <a:solidFill>
                      <a:srgbClr val="C00000"/>
                    </a:solidFill>
                    <a:latin typeface="Calibri" pitchFamily="34" charset="0"/>
                    <a:cs typeface="Arial" pitchFamily="34" charset="0"/>
                  </a:rPr>
                  <a:t>Voluntario y p</a:t>
                </a:r>
                <a:r>
                  <a:rPr kumimoji="0" lang="es-ES" sz="20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sterior a la certificación</a:t>
                </a:r>
                <a:r>
                  <a:rPr kumimoji="0" lang="es-ES" sz="2000" b="1" i="0" u="none" strike="noStrike" cap="none" normalizeH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de programas</a:t>
                </a:r>
                <a:r>
                  <a:rPr kumimoji="0" lang="es-ES" sz="20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s-E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123" name="Picture 9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981" y="3081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24" name="Picture 100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981" y="3081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25" name="Rectangle 101"/>
              <p:cNvSpPr>
                <a:spLocks noChangeArrowheads="1"/>
              </p:cNvSpPr>
              <p:nvPr/>
            </p:nvSpPr>
            <p:spPr bwMode="auto">
              <a:xfrm>
                <a:off x="1910" y="1470"/>
                <a:ext cx="205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9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ERTIFICACIÓN DE COMPETENCIAS</a:t>
                </a:r>
                <a:endParaRPr kumimoji="0" lang="es-E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126" name="Picture 10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716" y="1384"/>
                <a:ext cx="317" cy="26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27" name="Picture 103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716" y="1384"/>
                <a:ext cx="317" cy="26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28" name="Rectangle 104"/>
              <p:cNvSpPr>
                <a:spLocks noChangeArrowheads="1"/>
              </p:cNvSpPr>
              <p:nvPr/>
            </p:nvSpPr>
            <p:spPr bwMode="auto">
              <a:xfrm>
                <a:off x="174" y="3120"/>
                <a:ext cx="339" cy="1003"/>
              </a:xfrm>
              <a:prstGeom prst="rect">
                <a:avLst/>
              </a:prstGeom>
              <a:solidFill>
                <a:srgbClr val="FEF0F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29" name="Freeform 105"/>
              <p:cNvSpPr>
                <a:spLocks noEditPoints="1"/>
              </p:cNvSpPr>
              <p:nvPr/>
            </p:nvSpPr>
            <p:spPr bwMode="auto">
              <a:xfrm>
                <a:off x="171" y="3116"/>
                <a:ext cx="346" cy="1012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4" y="0"/>
                  </a:cxn>
                  <a:cxn ang="0">
                    <a:pos x="2648" y="0"/>
                  </a:cxn>
                  <a:cxn ang="0">
                    <a:pos x="2672" y="24"/>
                  </a:cxn>
                  <a:cxn ang="0">
                    <a:pos x="2672" y="5416"/>
                  </a:cxn>
                  <a:cxn ang="0">
                    <a:pos x="2648" y="5440"/>
                  </a:cxn>
                  <a:cxn ang="0">
                    <a:pos x="24" y="5440"/>
                  </a:cxn>
                  <a:cxn ang="0">
                    <a:pos x="0" y="5416"/>
                  </a:cxn>
                  <a:cxn ang="0">
                    <a:pos x="0" y="24"/>
                  </a:cxn>
                  <a:cxn ang="0">
                    <a:pos x="48" y="5416"/>
                  </a:cxn>
                  <a:cxn ang="0">
                    <a:pos x="24" y="5392"/>
                  </a:cxn>
                  <a:cxn ang="0">
                    <a:pos x="2648" y="5392"/>
                  </a:cxn>
                  <a:cxn ang="0">
                    <a:pos x="2624" y="5416"/>
                  </a:cxn>
                  <a:cxn ang="0">
                    <a:pos x="2624" y="24"/>
                  </a:cxn>
                  <a:cxn ang="0">
                    <a:pos x="2648" y="48"/>
                  </a:cxn>
                  <a:cxn ang="0">
                    <a:pos x="24" y="48"/>
                  </a:cxn>
                  <a:cxn ang="0">
                    <a:pos x="48" y="24"/>
                  </a:cxn>
                  <a:cxn ang="0">
                    <a:pos x="48" y="5416"/>
                  </a:cxn>
                </a:cxnLst>
                <a:rect l="0" t="0" r="r" b="b"/>
                <a:pathLst>
                  <a:path w="2672" h="5440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lnTo>
                      <a:pt x="2648" y="0"/>
                    </a:lnTo>
                    <a:cubicBezTo>
                      <a:pt x="2662" y="0"/>
                      <a:pt x="2672" y="11"/>
                      <a:pt x="2672" y="24"/>
                    </a:cubicBezTo>
                    <a:lnTo>
                      <a:pt x="2672" y="5416"/>
                    </a:lnTo>
                    <a:cubicBezTo>
                      <a:pt x="2672" y="5430"/>
                      <a:pt x="2662" y="5440"/>
                      <a:pt x="2648" y="5440"/>
                    </a:cubicBezTo>
                    <a:lnTo>
                      <a:pt x="24" y="5440"/>
                    </a:lnTo>
                    <a:cubicBezTo>
                      <a:pt x="11" y="5440"/>
                      <a:pt x="0" y="5430"/>
                      <a:pt x="0" y="5416"/>
                    </a:cubicBezTo>
                    <a:lnTo>
                      <a:pt x="0" y="24"/>
                    </a:lnTo>
                    <a:close/>
                    <a:moveTo>
                      <a:pt x="48" y="5416"/>
                    </a:moveTo>
                    <a:lnTo>
                      <a:pt x="24" y="5392"/>
                    </a:lnTo>
                    <a:lnTo>
                      <a:pt x="2648" y="5392"/>
                    </a:lnTo>
                    <a:lnTo>
                      <a:pt x="2624" y="5416"/>
                    </a:lnTo>
                    <a:lnTo>
                      <a:pt x="2624" y="24"/>
                    </a:lnTo>
                    <a:lnTo>
                      <a:pt x="2648" y="48"/>
                    </a:lnTo>
                    <a:lnTo>
                      <a:pt x="24" y="48"/>
                    </a:lnTo>
                    <a:lnTo>
                      <a:pt x="48" y="24"/>
                    </a:lnTo>
                    <a:lnTo>
                      <a:pt x="48" y="5416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0" name="Rectangle 106"/>
              <p:cNvSpPr>
                <a:spLocks noChangeArrowheads="1"/>
              </p:cNvSpPr>
              <p:nvPr/>
            </p:nvSpPr>
            <p:spPr bwMode="auto">
              <a:xfrm rot="16200000">
                <a:off x="-28" y="3572"/>
                <a:ext cx="606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Nivel I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31" name="Rectangle 107"/>
              <p:cNvSpPr>
                <a:spLocks noChangeArrowheads="1"/>
              </p:cNvSpPr>
              <p:nvPr/>
            </p:nvSpPr>
            <p:spPr bwMode="auto">
              <a:xfrm>
                <a:off x="174" y="1909"/>
                <a:ext cx="339" cy="121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2" name="Freeform 108"/>
              <p:cNvSpPr>
                <a:spLocks noEditPoints="1"/>
              </p:cNvSpPr>
              <p:nvPr/>
            </p:nvSpPr>
            <p:spPr bwMode="auto">
              <a:xfrm>
                <a:off x="171" y="1905"/>
                <a:ext cx="346" cy="1220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48" y="0"/>
                  </a:cxn>
                  <a:cxn ang="0">
                    <a:pos x="5296" y="0"/>
                  </a:cxn>
                  <a:cxn ang="0">
                    <a:pos x="5344" y="48"/>
                  </a:cxn>
                  <a:cxn ang="0">
                    <a:pos x="5344" y="13072"/>
                  </a:cxn>
                  <a:cxn ang="0">
                    <a:pos x="5296" y="13120"/>
                  </a:cxn>
                  <a:cxn ang="0">
                    <a:pos x="48" y="13120"/>
                  </a:cxn>
                  <a:cxn ang="0">
                    <a:pos x="0" y="13072"/>
                  </a:cxn>
                  <a:cxn ang="0">
                    <a:pos x="0" y="48"/>
                  </a:cxn>
                  <a:cxn ang="0">
                    <a:pos x="96" y="13072"/>
                  </a:cxn>
                  <a:cxn ang="0">
                    <a:pos x="48" y="13024"/>
                  </a:cxn>
                  <a:cxn ang="0">
                    <a:pos x="5296" y="13024"/>
                  </a:cxn>
                  <a:cxn ang="0">
                    <a:pos x="5248" y="13072"/>
                  </a:cxn>
                  <a:cxn ang="0">
                    <a:pos x="5248" y="48"/>
                  </a:cxn>
                  <a:cxn ang="0">
                    <a:pos x="5296" y="96"/>
                  </a:cxn>
                  <a:cxn ang="0">
                    <a:pos x="48" y="96"/>
                  </a:cxn>
                  <a:cxn ang="0">
                    <a:pos x="96" y="48"/>
                  </a:cxn>
                  <a:cxn ang="0">
                    <a:pos x="96" y="13072"/>
                  </a:cxn>
                </a:cxnLst>
                <a:rect l="0" t="0" r="r" b="b"/>
                <a:pathLst>
                  <a:path w="5344" h="13120">
                    <a:moveTo>
                      <a:pt x="0" y="48"/>
                    </a:moveTo>
                    <a:cubicBezTo>
                      <a:pt x="0" y="22"/>
                      <a:pt x="22" y="0"/>
                      <a:pt x="48" y="0"/>
                    </a:cubicBezTo>
                    <a:lnTo>
                      <a:pt x="5296" y="0"/>
                    </a:lnTo>
                    <a:cubicBezTo>
                      <a:pt x="5323" y="0"/>
                      <a:pt x="5344" y="22"/>
                      <a:pt x="5344" y="48"/>
                    </a:cubicBezTo>
                    <a:lnTo>
                      <a:pt x="5344" y="13072"/>
                    </a:lnTo>
                    <a:cubicBezTo>
                      <a:pt x="5344" y="13099"/>
                      <a:pt x="5323" y="13120"/>
                      <a:pt x="5296" y="13120"/>
                    </a:cubicBezTo>
                    <a:lnTo>
                      <a:pt x="48" y="13120"/>
                    </a:lnTo>
                    <a:cubicBezTo>
                      <a:pt x="22" y="13120"/>
                      <a:pt x="0" y="13099"/>
                      <a:pt x="0" y="13072"/>
                    </a:cubicBezTo>
                    <a:lnTo>
                      <a:pt x="0" y="48"/>
                    </a:lnTo>
                    <a:close/>
                    <a:moveTo>
                      <a:pt x="96" y="13072"/>
                    </a:moveTo>
                    <a:lnTo>
                      <a:pt x="48" y="13024"/>
                    </a:lnTo>
                    <a:lnTo>
                      <a:pt x="5296" y="13024"/>
                    </a:lnTo>
                    <a:lnTo>
                      <a:pt x="5248" y="13072"/>
                    </a:lnTo>
                    <a:lnTo>
                      <a:pt x="5248" y="48"/>
                    </a:lnTo>
                    <a:lnTo>
                      <a:pt x="5296" y="96"/>
                    </a:lnTo>
                    <a:lnTo>
                      <a:pt x="48" y="96"/>
                    </a:lnTo>
                    <a:lnTo>
                      <a:pt x="96" y="48"/>
                    </a:lnTo>
                    <a:lnTo>
                      <a:pt x="96" y="13072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pic>
            <p:nvPicPr>
              <p:cNvPr id="1134" name="Picture 110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981" y="1896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35" name="Picture 111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981" y="1896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36" name="Rectangle 112"/>
              <p:cNvSpPr>
                <a:spLocks noChangeArrowheads="1"/>
              </p:cNvSpPr>
              <p:nvPr/>
            </p:nvSpPr>
            <p:spPr bwMode="auto">
              <a:xfrm>
                <a:off x="174" y="659"/>
                <a:ext cx="339" cy="1250"/>
              </a:xfrm>
              <a:prstGeom prst="rect">
                <a:avLst/>
              </a:prstGeom>
              <a:solidFill>
                <a:srgbClr val="F2F2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7" name="Freeform 113"/>
              <p:cNvSpPr>
                <a:spLocks noEditPoints="1"/>
              </p:cNvSpPr>
              <p:nvPr/>
            </p:nvSpPr>
            <p:spPr bwMode="auto">
              <a:xfrm>
                <a:off x="171" y="654"/>
                <a:ext cx="346" cy="1259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48" y="0"/>
                  </a:cxn>
                  <a:cxn ang="0">
                    <a:pos x="5296" y="0"/>
                  </a:cxn>
                  <a:cxn ang="0">
                    <a:pos x="5344" y="48"/>
                  </a:cxn>
                  <a:cxn ang="0">
                    <a:pos x="5344" y="13488"/>
                  </a:cxn>
                  <a:cxn ang="0">
                    <a:pos x="5296" y="13536"/>
                  </a:cxn>
                  <a:cxn ang="0">
                    <a:pos x="48" y="13536"/>
                  </a:cxn>
                  <a:cxn ang="0">
                    <a:pos x="0" y="13488"/>
                  </a:cxn>
                  <a:cxn ang="0">
                    <a:pos x="0" y="48"/>
                  </a:cxn>
                  <a:cxn ang="0">
                    <a:pos x="96" y="13488"/>
                  </a:cxn>
                  <a:cxn ang="0">
                    <a:pos x="48" y="13440"/>
                  </a:cxn>
                  <a:cxn ang="0">
                    <a:pos x="5296" y="13440"/>
                  </a:cxn>
                  <a:cxn ang="0">
                    <a:pos x="5248" y="13488"/>
                  </a:cxn>
                  <a:cxn ang="0">
                    <a:pos x="5248" y="48"/>
                  </a:cxn>
                  <a:cxn ang="0">
                    <a:pos x="5296" y="96"/>
                  </a:cxn>
                  <a:cxn ang="0">
                    <a:pos x="48" y="96"/>
                  </a:cxn>
                  <a:cxn ang="0">
                    <a:pos x="96" y="48"/>
                  </a:cxn>
                  <a:cxn ang="0">
                    <a:pos x="96" y="13488"/>
                  </a:cxn>
                </a:cxnLst>
                <a:rect l="0" t="0" r="r" b="b"/>
                <a:pathLst>
                  <a:path w="5344" h="13536">
                    <a:moveTo>
                      <a:pt x="0" y="48"/>
                    </a:moveTo>
                    <a:cubicBezTo>
                      <a:pt x="0" y="22"/>
                      <a:pt x="22" y="0"/>
                      <a:pt x="48" y="0"/>
                    </a:cubicBezTo>
                    <a:lnTo>
                      <a:pt x="5296" y="0"/>
                    </a:lnTo>
                    <a:cubicBezTo>
                      <a:pt x="5323" y="0"/>
                      <a:pt x="5344" y="22"/>
                      <a:pt x="5344" y="48"/>
                    </a:cubicBezTo>
                    <a:lnTo>
                      <a:pt x="5344" y="13488"/>
                    </a:lnTo>
                    <a:cubicBezTo>
                      <a:pt x="5344" y="13515"/>
                      <a:pt x="5323" y="13536"/>
                      <a:pt x="5296" y="13536"/>
                    </a:cubicBezTo>
                    <a:lnTo>
                      <a:pt x="48" y="13536"/>
                    </a:lnTo>
                    <a:cubicBezTo>
                      <a:pt x="22" y="13536"/>
                      <a:pt x="0" y="13515"/>
                      <a:pt x="0" y="13488"/>
                    </a:cubicBezTo>
                    <a:lnTo>
                      <a:pt x="0" y="48"/>
                    </a:lnTo>
                    <a:close/>
                    <a:moveTo>
                      <a:pt x="96" y="13488"/>
                    </a:moveTo>
                    <a:lnTo>
                      <a:pt x="48" y="13440"/>
                    </a:lnTo>
                    <a:lnTo>
                      <a:pt x="5296" y="13440"/>
                    </a:lnTo>
                    <a:lnTo>
                      <a:pt x="5248" y="13488"/>
                    </a:lnTo>
                    <a:lnTo>
                      <a:pt x="5248" y="48"/>
                    </a:lnTo>
                    <a:lnTo>
                      <a:pt x="5296" y="96"/>
                    </a:lnTo>
                    <a:lnTo>
                      <a:pt x="48" y="96"/>
                    </a:lnTo>
                    <a:lnTo>
                      <a:pt x="96" y="48"/>
                    </a:lnTo>
                    <a:lnTo>
                      <a:pt x="96" y="1348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8" name="Freeform 114"/>
              <p:cNvSpPr>
                <a:spLocks noEditPoints="1"/>
              </p:cNvSpPr>
              <p:nvPr/>
            </p:nvSpPr>
            <p:spPr bwMode="auto">
              <a:xfrm>
                <a:off x="2608" y="3703"/>
                <a:ext cx="572" cy="181"/>
              </a:xfrm>
              <a:custGeom>
                <a:avLst/>
                <a:gdLst/>
                <a:ahLst/>
                <a:cxnLst>
                  <a:cxn ang="0">
                    <a:pos x="0" y="276"/>
                  </a:cxn>
                  <a:cxn ang="0">
                    <a:pos x="5297" y="276"/>
                  </a:cxn>
                  <a:cxn ang="0">
                    <a:pos x="5297" y="428"/>
                  </a:cxn>
                  <a:cxn ang="0">
                    <a:pos x="0" y="428"/>
                  </a:cxn>
                  <a:cxn ang="0">
                    <a:pos x="0" y="276"/>
                  </a:cxn>
                  <a:cxn ang="0">
                    <a:pos x="4879" y="21"/>
                  </a:cxn>
                  <a:cxn ang="0">
                    <a:pos x="5448" y="352"/>
                  </a:cxn>
                  <a:cxn ang="0">
                    <a:pos x="4879" y="684"/>
                  </a:cxn>
                  <a:cxn ang="0">
                    <a:pos x="4775" y="657"/>
                  </a:cxn>
                  <a:cxn ang="0">
                    <a:pos x="4803" y="553"/>
                  </a:cxn>
                  <a:cxn ang="0">
                    <a:pos x="5259" y="287"/>
                  </a:cxn>
                  <a:cxn ang="0">
                    <a:pos x="5259" y="418"/>
                  </a:cxn>
                  <a:cxn ang="0">
                    <a:pos x="4803" y="152"/>
                  </a:cxn>
                  <a:cxn ang="0">
                    <a:pos x="4775" y="48"/>
                  </a:cxn>
                  <a:cxn ang="0">
                    <a:pos x="4879" y="21"/>
                  </a:cxn>
                </a:cxnLst>
                <a:rect l="0" t="0" r="r" b="b"/>
                <a:pathLst>
                  <a:path w="5448" h="705">
                    <a:moveTo>
                      <a:pt x="0" y="276"/>
                    </a:moveTo>
                    <a:lnTo>
                      <a:pt x="5297" y="276"/>
                    </a:lnTo>
                    <a:lnTo>
                      <a:pt x="5297" y="428"/>
                    </a:lnTo>
                    <a:lnTo>
                      <a:pt x="0" y="428"/>
                    </a:lnTo>
                    <a:lnTo>
                      <a:pt x="0" y="276"/>
                    </a:lnTo>
                    <a:close/>
                    <a:moveTo>
                      <a:pt x="4879" y="21"/>
                    </a:moveTo>
                    <a:lnTo>
                      <a:pt x="5448" y="352"/>
                    </a:lnTo>
                    <a:lnTo>
                      <a:pt x="4879" y="684"/>
                    </a:lnTo>
                    <a:cubicBezTo>
                      <a:pt x="4843" y="705"/>
                      <a:pt x="4796" y="693"/>
                      <a:pt x="4775" y="657"/>
                    </a:cubicBezTo>
                    <a:cubicBezTo>
                      <a:pt x="4754" y="621"/>
                      <a:pt x="4766" y="574"/>
                      <a:pt x="4803" y="553"/>
                    </a:cubicBezTo>
                    <a:lnTo>
                      <a:pt x="5259" y="287"/>
                    </a:lnTo>
                    <a:lnTo>
                      <a:pt x="5259" y="418"/>
                    </a:lnTo>
                    <a:lnTo>
                      <a:pt x="4803" y="152"/>
                    </a:lnTo>
                    <a:cubicBezTo>
                      <a:pt x="4766" y="131"/>
                      <a:pt x="4754" y="84"/>
                      <a:pt x="4775" y="48"/>
                    </a:cubicBezTo>
                    <a:cubicBezTo>
                      <a:pt x="4796" y="12"/>
                      <a:pt x="4843" y="0"/>
                      <a:pt x="4879" y="21"/>
                    </a:cubicBezTo>
                    <a:close/>
                  </a:path>
                </a:pathLst>
              </a:custGeom>
              <a:solidFill>
                <a:srgbClr val="4F81BD"/>
              </a:solidFill>
              <a:ln w="0" cap="flat">
                <a:solidFill>
                  <a:srgbClr val="4F81B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9" name="Freeform 115"/>
              <p:cNvSpPr>
                <a:spLocks noEditPoints="1"/>
              </p:cNvSpPr>
              <p:nvPr/>
            </p:nvSpPr>
            <p:spPr bwMode="auto">
              <a:xfrm rot="10800000">
                <a:off x="2434" y="2383"/>
                <a:ext cx="705" cy="131"/>
              </a:xfrm>
              <a:custGeom>
                <a:avLst/>
                <a:gdLst/>
                <a:ahLst/>
                <a:cxnLst>
                  <a:cxn ang="0">
                    <a:pos x="0" y="276"/>
                  </a:cxn>
                  <a:cxn ang="0">
                    <a:pos x="5297" y="276"/>
                  </a:cxn>
                  <a:cxn ang="0">
                    <a:pos x="5297" y="428"/>
                  </a:cxn>
                  <a:cxn ang="0">
                    <a:pos x="0" y="428"/>
                  </a:cxn>
                  <a:cxn ang="0">
                    <a:pos x="0" y="276"/>
                  </a:cxn>
                  <a:cxn ang="0">
                    <a:pos x="4879" y="21"/>
                  </a:cxn>
                  <a:cxn ang="0">
                    <a:pos x="5448" y="352"/>
                  </a:cxn>
                  <a:cxn ang="0">
                    <a:pos x="4879" y="684"/>
                  </a:cxn>
                  <a:cxn ang="0">
                    <a:pos x="4775" y="657"/>
                  </a:cxn>
                  <a:cxn ang="0">
                    <a:pos x="4803" y="553"/>
                  </a:cxn>
                  <a:cxn ang="0">
                    <a:pos x="4803" y="553"/>
                  </a:cxn>
                  <a:cxn ang="0">
                    <a:pos x="5259" y="287"/>
                  </a:cxn>
                  <a:cxn ang="0">
                    <a:pos x="5259" y="418"/>
                  </a:cxn>
                  <a:cxn ang="0">
                    <a:pos x="4803" y="152"/>
                  </a:cxn>
                  <a:cxn ang="0">
                    <a:pos x="4775" y="48"/>
                  </a:cxn>
                  <a:cxn ang="0">
                    <a:pos x="4879" y="21"/>
                  </a:cxn>
                </a:cxnLst>
                <a:rect l="0" t="0" r="r" b="b"/>
                <a:pathLst>
                  <a:path w="5448" h="705">
                    <a:moveTo>
                      <a:pt x="0" y="276"/>
                    </a:moveTo>
                    <a:lnTo>
                      <a:pt x="5297" y="276"/>
                    </a:lnTo>
                    <a:lnTo>
                      <a:pt x="5297" y="428"/>
                    </a:lnTo>
                    <a:lnTo>
                      <a:pt x="0" y="428"/>
                    </a:lnTo>
                    <a:lnTo>
                      <a:pt x="0" y="276"/>
                    </a:lnTo>
                    <a:close/>
                    <a:moveTo>
                      <a:pt x="4879" y="21"/>
                    </a:moveTo>
                    <a:lnTo>
                      <a:pt x="5448" y="352"/>
                    </a:lnTo>
                    <a:lnTo>
                      <a:pt x="4879" y="684"/>
                    </a:lnTo>
                    <a:cubicBezTo>
                      <a:pt x="4843" y="705"/>
                      <a:pt x="4796" y="693"/>
                      <a:pt x="4775" y="657"/>
                    </a:cubicBezTo>
                    <a:cubicBezTo>
                      <a:pt x="4754" y="621"/>
                      <a:pt x="4766" y="574"/>
                      <a:pt x="4803" y="553"/>
                    </a:cubicBezTo>
                    <a:lnTo>
                      <a:pt x="4803" y="553"/>
                    </a:lnTo>
                    <a:lnTo>
                      <a:pt x="5259" y="287"/>
                    </a:lnTo>
                    <a:lnTo>
                      <a:pt x="5259" y="418"/>
                    </a:lnTo>
                    <a:lnTo>
                      <a:pt x="4803" y="152"/>
                    </a:lnTo>
                    <a:cubicBezTo>
                      <a:pt x="4766" y="131"/>
                      <a:pt x="4754" y="84"/>
                      <a:pt x="4775" y="48"/>
                    </a:cubicBezTo>
                    <a:cubicBezTo>
                      <a:pt x="4796" y="12"/>
                      <a:pt x="4843" y="0"/>
                      <a:pt x="4879" y="21"/>
                    </a:cubicBezTo>
                    <a:close/>
                  </a:path>
                </a:pathLst>
              </a:custGeom>
              <a:solidFill>
                <a:srgbClr val="4F81BD"/>
              </a:solidFill>
              <a:ln w="0" cap="flat">
                <a:solidFill>
                  <a:srgbClr val="4F81B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pic>
            <p:nvPicPr>
              <p:cNvPr id="1141" name="Picture 117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29" y="3279"/>
                <a:ext cx="695" cy="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2" name="Picture 118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371" y="3300"/>
                <a:ext cx="695" cy="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3" name="Picture 119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4727" y="3268"/>
                <a:ext cx="669" cy="7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4" name="Picture 120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4727" y="3310"/>
                <a:ext cx="669" cy="7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5" name="Picture 121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525" y="618"/>
                <a:ext cx="622" cy="7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6" name="Picture 122"/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2525" y="675"/>
                <a:ext cx="763" cy="7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47" name="Rectangle 123"/>
              <p:cNvSpPr>
                <a:spLocks noChangeArrowheads="1"/>
              </p:cNvSpPr>
              <p:nvPr/>
            </p:nvSpPr>
            <p:spPr bwMode="auto">
              <a:xfrm>
                <a:off x="4287" y="3467"/>
                <a:ext cx="428" cy="586"/>
              </a:xfrm>
              <a:prstGeom prst="rect">
                <a:avLst/>
              </a:prstGeom>
              <a:solidFill>
                <a:srgbClr val="FDEAD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48" name="Freeform 124"/>
              <p:cNvSpPr>
                <a:spLocks noEditPoints="1"/>
              </p:cNvSpPr>
              <p:nvPr/>
            </p:nvSpPr>
            <p:spPr bwMode="auto">
              <a:xfrm>
                <a:off x="4282" y="3460"/>
                <a:ext cx="438" cy="601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0" y="0"/>
                  </a:cxn>
                  <a:cxn ang="0">
                    <a:pos x="1676" y="0"/>
                  </a:cxn>
                  <a:cxn ang="0">
                    <a:pos x="1696" y="20"/>
                  </a:cxn>
                  <a:cxn ang="0">
                    <a:pos x="1696" y="1596"/>
                  </a:cxn>
                  <a:cxn ang="0">
                    <a:pos x="1676" y="1616"/>
                  </a:cxn>
                  <a:cxn ang="0">
                    <a:pos x="20" y="1616"/>
                  </a:cxn>
                  <a:cxn ang="0">
                    <a:pos x="0" y="1596"/>
                  </a:cxn>
                  <a:cxn ang="0">
                    <a:pos x="0" y="20"/>
                  </a:cxn>
                  <a:cxn ang="0">
                    <a:pos x="40" y="1596"/>
                  </a:cxn>
                  <a:cxn ang="0">
                    <a:pos x="20" y="1576"/>
                  </a:cxn>
                  <a:cxn ang="0">
                    <a:pos x="1676" y="1576"/>
                  </a:cxn>
                  <a:cxn ang="0">
                    <a:pos x="1656" y="1596"/>
                  </a:cxn>
                  <a:cxn ang="0">
                    <a:pos x="1656" y="20"/>
                  </a:cxn>
                  <a:cxn ang="0">
                    <a:pos x="1676" y="40"/>
                  </a:cxn>
                  <a:cxn ang="0">
                    <a:pos x="20" y="40"/>
                  </a:cxn>
                  <a:cxn ang="0">
                    <a:pos x="40" y="20"/>
                  </a:cxn>
                  <a:cxn ang="0">
                    <a:pos x="40" y="1596"/>
                  </a:cxn>
                </a:cxnLst>
                <a:rect l="0" t="0" r="r" b="b"/>
                <a:pathLst>
                  <a:path w="1696" h="1616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lnTo>
                      <a:pt x="1676" y="0"/>
                    </a:lnTo>
                    <a:cubicBezTo>
                      <a:pt x="1688" y="0"/>
                      <a:pt x="1696" y="9"/>
                      <a:pt x="1696" y="20"/>
                    </a:cubicBezTo>
                    <a:lnTo>
                      <a:pt x="1696" y="1596"/>
                    </a:lnTo>
                    <a:cubicBezTo>
                      <a:pt x="1696" y="1608"/>
                      <a:pt x="1688" y="1616"/>
                      <a:pt x="1676" y="1616"/>
                    </a:cubicBezTo>
                    <a:lnTo>
                      <a:pt x="20" y="1616"/>
                    </a:lnTo>
                    <a:cubicBezTo>
                      <a:pt x="9" y="1616"/>
                      <a:pt x="0" y="1608"/>
                      <a:pt x="0" y="1596"/>
                    </a:cubicBezTo>
                    <a:lnTo>
                      <a:pt x="0" y="20"/>
                    </a:lnTo>
                    <a:close/>
                    <a:moveTo>
                      <a:pt x="40" y="1596"/>
                    </a:moveTo>
                    <a:lnTo>
                      <a:pt x="20" y="1576"/>
                    </a:lnTo>
                    <a:lnTo>
                      <a:pt x="1676" y="1576"/>
                    </a:lnTo>
                    <a:lnTo>
                      <a:pt x="1656" y="1596"/>
                    </a:lnTo>
                    <a:lnTo>
                      <a:pt x="1656" y="20"/>
                    </a:lnTo>
                    <a:lnTo>
                      <a:pt x="1676" y="40"/>
                    </a:lnTo>
                    <a:lnTo>
                      <a:pt x="20" y="40"/>
                    </a:lnTo>
                    <a:lnTo>
                      <a:pt x="40" y="20"/>
                    </a:lnTo>
                    <a:lnTo>
                      <a:pt x="40" y="1596"/>
                    </a:lnTo>
                    <a:close/>
                  </a:path>
                </a:pathLst>
              </a:custGeom>
              <a:solidFill>
                <a:srgbClr val="F79646"/>
              </a:solidFill>
              <a:ln w="0" cap="flat">
                <a:solidFill>
                  <a:srgbClr val="F7964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50" name="Rectangle 126"/>
              <p:cNvSpPr>
                <a:spLocks noChangeArrowheads="1"/>
              </p:cNvSpPr>
              <p:nvPr/>
            </p:nvSpPr>
            <p:spPr bwMode="auto">
              <a:xfrm>
                <a:off x="4344" y="3521"/>
                <a:ext cx="350" cy="4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700" b="1" i="1" u="none" strike="noStrike" cap="none" normalizeH="0" baseline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latin typeface="Calibri" pitchFamily="34" charset="0"/>
                    <a:cs typeface="Arial" pitchFamily="34" charset="0"/>
                  </a:rPr>
                  <a:t>Banco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s-ES" sz="1700" i="1" dirty="0" smtClean="0">
                    <a:solidFill>
                      <a:srgbClr val="000099"/>
                    </a:solidFill>
                    <a:latin typeface="Calibri" pitchFamily="34" charset="0"/>
                    <a:cs typeface="Arial" pitchFamily="34" charset="0"/>
                  </a:rPr>
                  <a:t>d</a:t>
                </a:r>
                <a:r>
                  <a:rPr kumimoji="0" lang="es-ES" sz="1700" b="1" i="1" u="none" strike="noStrike" cap="none" normalizeH="0" baseline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latin typeface="Calibri" pitchFamily="34" charset="0"/>
                    <a:cs typeface="Arial" pitchFamily="34" charset="0"/>
                  </a:rPr>
                  <a:t>e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700" b="1" i="1" u="none" strike="noStrike" cap="none" normalizeH="0" baseline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es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29" name="Freeform 124"/>
            <p:cNvSpPr>
              <a:spLocks noEditPoints="1"/>
            </p:cNvSpPr>
            <p:nvPr/>
          </p:nvSpPr>
          <p:spPr bwMode="auto">
            <a:xfrm>
              <a:off x="1691680" y="5643264"/>
              <a:ext cx="695325" cy="95408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0" y="0"/>
                </a:cxn>
                <a:cxn ang="0">
                  <a:pos x="1676" y="0"/>
                </a:cxn>
                <a:cxn ang="0">
                  <a:pos x="1696" y="20"/>
                </a:cxn>
                <a:cxn ang="0">
                  <a:pos x="1696" y="1596"/>
                </a:cxn>
                <a:cxn ang="0">
                  <a:pos x="1676" y="1616"/>
                </a:cxn>
                <a:cxn ang="0">
                  <a:pos x="20" y="1616"/>
                </a:cxn>
                <a:cxn ang="0">
                  <a:pos x="0" y="1596"/>
                </a:cxn>
                <a:cxn ang="0">
                  <a:pos x="0" y="20"/>
                </a:cxn>
                <a:cxn ang="0">
                  <a:pos x="40" y="1596"/>
                </a:cxn>
                <a:cxn ang="0">
                  <a:pos x="20" y="1576"/>
                </a:cxn>
                <a:cxn ang="0">
                  <a:pos x="1676" y="1576"/>
                </a:cxn>
                <a:cxn ang="0">
                  <a:pos x="1656" y="1596"/>
                </a:cxn>
                <a:cxn ang="0">
                  <a:pos x="1656" y="20"/>
                </a:cxn>
                <a:cxn ang="0">
                  <a:pos x="1676" y="40"/>
                </a:cxn>
                <a:cxn ang="0">
                  <a:pos x="20" y="40"/>
                </a:cxn>
                <a:cxn ang="0">
                  <a:pos x="40" y="20"/>
                </a:cxn>
                <a:cxn ang="0">
                  <a:pos x="40" y="1596"/>
                </a:cxn>
              </a:cxnLst>
              <a:rect l="0" t="0" r="r" b="b"/>
              <a:pathLst>
                <a:path w="1696" h="1616">
                  <a:moveTo>
                    <a:pt x="0" y="20"/>
                  </a:moveTo>
                  <a:cubicBezTo>
                    <a:pt x="0" y="9"/>
                    <a:pt x="9" y="0"/>
                    <a:pt x="20" y="0"/>
                  </a:cubicBezTo>
                  <a:lnTo>
                    <a:pt x="1676" y="0"/>
                  </a:lnTo>
                  <a:cubicBezTo>
                    <a:pt x="1688" y="0"/>
                    <a:pt x="1696" y="9"/>
                    <a:pt x="1696" y="20"/>
                  </a:cubicBezTo>
                  <a:lnTo>
                    <a:pt x="1696" y="1596"/>
                  </a:lnTo>
                  <a:cubicBezTo>
                    <a:pt x="1696" y="1608"/>
                    <a:pt x="1688" y="1616"/>
                    <a:pt x="1676" y="1616"/>
                  </a:cubicBezTo>
                  <a:lnTo>
                    <a:pt x="20" y="1616"/>
                  </a:lnTo>
                  <a:cubicBezTo>
                    <a:pt x="9" y="1616"/>
                    <a:pt x="0" y="1608"/>
                    <a:pt x="0" y="1596"/>
                  </a:cubicBezTo>
                  <a:lnTo>
                    <a:pt x="0" y="20"/>
                  </a:lnTo>
                  <a:close/>
                  <a:moveTo>
                    <a:pt x="40" y="1596"/>
                  </a:moveTo>
                  <a:lnTo>
                    <a:pt x="20" y="1576"/>
                  </a:lnTo>
                  <a:lnTo>
                    <a:pt x="1676" y="1576"/>
                  </a:lnTo>
                  <a:lnTo>
                    <a:pt x="1656" y="1596"/>
                  </a:lnTo>
                  <a:lnTo>
                    <a:pt x="1656" y="20"/>
                  </a:lnTo>
                  <a:lnTo>
                    <a:pt x="1676" y="40"/>
                  </a:lnTo>
                  <a:lnTo>
                    <a:pt x="20" y="40"/>
                  </a:lnTo>
                  <a:lnTo>
                    <a:pt x="40" y="20"/>
                  </a:lnTo>
                  <a:lnTo>
                    <a:pt x="40" y="1596"/>
                  </a:lnTo>
                  <a:close/>
                </a:path>
              </a:pathLst>
            </a:custGeom>
            <a:solidFill>
              <a:srgbClr val="F79646"/>
            </a:solidFill>
            <a:ln w="0" cap="flat">
              <a:solidFill>
                <a:srgbClr val="F7964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0" name="Rectangle 126"/>
            <p:cNvSpPr>
              <a:spLocks noChangeArrowheads="1"/>
            </p:cNvSpPr>
            <p:nvPr/>
          </p:nvSpPr>
          <p:spPr bwMode="auto">
            <a:xfrm>
              <a:off x="1763688" y="5740514"/>
              <a:ext cx="555793" cy="7848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1" u="none" strike="noStrike" cap="none" normalizeH="0" baseline="0" dirty="0" smtClean="0">
                  <a:ln>
                    <a:noFill/>
                  </a:ln>
                  <a:solidFill>
                    <a:srgbClr val="000099"/>
                  </a:solidFill>
                  <a:effectLst/>
                  <a:latin typeface="Calibri" pitchFamily="34" charset="0"/>
                  <a:cs typeface="Arial" pitchFamily="34" charset="0"/>
                </a:rPr>
                <a:t>Banco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ES" sz="1700" i="1" dirty="0" smtClean="0">
                  <a:solidFill>
                    <a:srgbClr val="000099"/>
                  </a:solidFill>
                  <a:latin typeface="Calibri" pitchFamily="34" charset="0"/>
                  <a:cs typeface="Arial" pitchFamily="34" charset="0"/>
                </a:rPr>
                <a:t>d</a:t>
              </a:r>
              <a:r>
                <a:rPr kumimoji="0" lang="es-ES" sz="1700" b="1" i="1" u="none" strike="noStrike" cap="none" normalizeH="0" baseline="0" dirty="0" smtClean="0">
                  <a:ln>
                    <a:noFill/>
                  </a:ln>
                  <a:solidFill>
                    <a:srgbClr val="000099"/>
                  </a:solidFill>
                  <a:effectLst/>
                  <a:latin typeface="Calibri" pitchFamily="34" charset="0"/>
                  <a:cs typeface="Arial" pitchFamily="34" charset="0"/>
                </a:rPr>
                <a:t>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1" u="none" strike="noStrike" cap="none" normalizeH="0" baseline="0" dirty="0" smtClean="0">
                  <a:ln>
                    <a:noFill/>
                  </a:ln>
                  <a:solidFill>
                    <a:srgbClr val="000099"/>
                  </a:solidFill>
                  <a:effectLst/>
                  <a:latin typeface="Calibri" pitchFamily="34" charset="0"/>
                  <a:cs typeface="Arial" pitchFamily="34" charset="0"/>
                </a:rPr>
                <a:t>pares</a:t>
              </a:r>
              <a:endPara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1" name="Freeform 114"/>
            <p:cNvSpPr>
              <a:spLocks noEditPoints="1"/>
            </p:cNvSpPr>
            <p:nvPr/>
          </p:nvSpPr>
          <p:spPr bwMode="auto">
            <a:xfrm rot="16200000">
              <a:off x="5129326" y="4959907"/>
              <a:ext cx="973584" cy="216025"/>
            </a:xfrm>
            <a:custGeom>
              <a:avLst/>
              <a:gdLst/>
              <a:ahLst/>
              <a:cxnLst>
                <a:cxn ang="0">
                  <a:pos x="0" y="276"/>
                </a:cxn>
                <a:cxn ang="0">
                  <a:pos x="5297" y="276"/>
                </a:cxn>
                <a:cxn ang="0">
                  <a:pos x="5297" y="428"/>
                </a:cxn>
                <a:cxn ang="0">
                  <a:pos x="0" y="428"/>
                </a:cxn>
                <a:cxn ang="0">
                  <a:pos x="0" y="276"/>
                </a:cxn>
                <a:cxn ang="0">
                  <a:pos x="4879" y="21"/>
                </a:cxn>
                <a:cxn ang="0">
                  <a:pos x="5448" y="352"/>
                </a:cxn>
                <a:cxn ang="0">
                  <a:pos x="4879" y="684"/>
                </a:cxn>
                <a:cxn ang="0">
                  <a:pos x="4775" y="657"/>
                </a:cxn>
                <a:cxn ang="0">
                  <a:pos x="4803" y="553"/>
                </a:cxn>
                <a:cxn ang="0">
                  <a:pos x="5259" y="287"/>
                </a:cxn>
                <a:cxn ang="0">
                  <a:pos x="5259" y="418"/>
                </a:cxn>
                <a:cxn ang="0">
                  <a:pos x="4803" y="152"/>
                </a:cxn>
                <a:cxn ang="0">
                  <a:pos x="4775" y="48"/>
                </a:cxn>
                <a:cxn ang="0">
                  <a:pos x="4879" y="21"/>
                </a:cxn>
              </a:cxnLst>
              <a:rect l="0" t="0" r="r" b="b"/>
              <a:pathLst>
                <a:path w="5448" h="705">
                  <a:moveTo>
                    <a:pt x="0" y="276"/>
                  </a:moveTo>
                  <a:lnTo>
                    <a:pt x="5297" y="276"/>
                  </a:lnTo>
                  <a:lnTo>
                    <a:pt x="5297" y="428"/>
                  </a:lnTo>
                  <a:lnTo>
                    <a:pt x="0" y="428"/>
                  </a:lnTo>
                  <a:lnTo>
                    <a:pt x="0" y="276"/>
                  </a:lnTo>
                  <a:close/>
                  <a:moveTo>
                    <a:pt x="4879" y="21"/>
                  </a:moveTo>
                  <a:lnTo>
                    <a:pt x="5448" y="352"/>
                  </a:lnTo>
                  <a:lnTo>
                    <a:pt x="4879" y="684"/>
                  </a:lnTo>
                  <a:cubicBezTo>
                    <a:pt x="4843" y="705"/>
                    <a:pt x="4796" y="693"/>
                    <a:pt x="4775" y="657"/>
                  </a:cubicBezTo>
                  <a:cubicBezTo>
                    <a:pt x="4754" y="621"/>
                    <a:pt x="4766" y="574"/>
                    <a:pt x="4803" y="553"/>
                  </a:cubicBezTo>
                  <a:lnTo>
                    <a:pt x="5259" y="287"/>
                  </a:lnTo>
                  <a:lnTo>
                    <a:pt x="5259" y="418"/>
                  </a:lnTo>
                  <a:lnTo>
                    <a:pt x="4803" y="152"/>
                  </a:lnTo>
                  <a:cubicBezTo>
                    <a:pt x="4766" y="131"/>
                    <a:pt x="4754" y="84"/>
                    <a:pt x="4775" y="48"/>
                  </a:cubicBezTo>
                  <a:cubicBezTo>
                    <a:pt x="4796" y="12"/>
                    <a:pt x="4843" y="0"/>
                    <a:pt x="4879" y="21"/>
                  </a:cubicBezTo>
                  <a:close/>
                </a:path>
              </a:pathLst>
            </a:custGeom>
            <a:solidFill>
              <a:srgbClr val="4F81BD"/>
            </a:solidFill>
            <a:ln w="0" cap="flat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2" name="Rectangle 106"/>
            <p:cNvSpPr>
              <a:spLocks noChangeArrowheads="1"/>
            </p:cNvSpPr>
            <p:nvPr/>
          </p:nvSpPr>
          <p:spPr bwMode="auto">
            <a:xfrm rot="16200000">
              <a:off x="-117045" y="3725557"/>
              <a:ext cx="96244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Nivel </a:t>
              </a:r>
              <a:r>
                <a:rPr lang="es-ES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I</a:t>
              </a:r>
              <a:r>
                <a:rPr kumimoji="0" lang="es-ES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I</a:t>
              </a:r>
              <a:endPara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924714" y="58351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OTROS ELEMENTOS PARTICULARE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xmlns="" val="4021158110"/>
              </p:ext>
            </p:extLst>
          </p:nvPr>
        </p:nvGraphicFramePr>
        <p:xfrm>
          <a:off x="1524000" y="1397000"/>
          <a:ext cx="6864424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470790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924714" y="58351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OTROS ELEMENTOS PARTICULARE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xmlns="" val="1696189375"/>
              </p:ext>
            </p:extLst>
          </p:nvPr>
        </p:nvGraphicFramePr>
        <p:xfrm>
          <a:off x="1524000" y="1397000"/>
          <a:ext cx="6864424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743510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3617935021"/>
              </p:ext>
            </p:extLst>
          </p:nvPr>
        </p:nvGraphicFramePr>
        <p:xfrm>
          <a:off x="-108520" y="1628800"/>
          <a:ext cx="525658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xmlns="" val="970696550"/>
              </p:ext>
            </p:extLst>
          </p:nvPr>
        </p:nvGraphicFramePr>
        <p:xfrm>
          <a:off x="3922250" y="1628800"/>
          <a:ext cx="5256584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" name="1 Título"/>
          <p:cNvSpPr txBox="1">
            <a:spLocks/>
          </p:cNvSpPr>
          <p:nvPr/>
        </p:nvSpPr>
        <p:spPr bwMode="auto">
          <a:xfrm>
            <a:off x="4644008" y="476672"/>
            <a:ext cx="4680520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_tradnl" sz="2800" b="1" dirty="0" smtClean="0">
                <a:solidFill>
                  <a:srgbClr val="990000"/>
                </a:solidFill>
                <a:latin typeface="+mj-lt"/>
              </a:rPr>
              <a:t>CONDICIONES DE CALIDAD PARA INSTITUCIONES</a:t>
            </a:r>
            <a:endParaRPr lang="es-ES" sz="2800" b="1" dirty="0">
              <a:solidFill>
                <a:srgbClr val="99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0593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5" descr="MCj0428065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33765" y="481038"/>
            <a:ext cx="2098675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C:\Users\nccorrea\AppData\Local\Microsoft\Windows\Temporary Internet Files\Content.Outlook\TV2EC4KB\images (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55924" y="1777182"/>
            <a:ext cx="7996596" cy="439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306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44008" y="476672"/>
            <a:ext cx="4680520" cy="864096"/>
          </a:xfrm>
        </p:spPr>
        <p:txBody>
          <a:bodyPr/>
          <a:lstStyle/>
          <a:p>
            <a:r>
              <a:rPr lang="es-ES_tradnl" sz="2800" b="1" dirty="0" smtClean="0">
                <a:solidFill>
                  <a:srgbClr val="990000"/>
                </a:solidFill>
                <a:latin typeface="+mj-lt"/>
              </a:rPr>
              <a:t>CONDICIONES DE CALIDAD PARA PROGRAMAS</a:t>
            </a:r>
            <a:endParaRPr lang="es-ES" sz="2800" b="1" dirty="0">
              <a:solidFill>
                <a:srgbClr val="990000"/>
              </a:solidFill>
              <a:latin typeface="+mj-lt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3784209674"/>
              </p:ext>
            </p:extLst>
          </p:nvPr>
        </p:nvGraphicFramePr>
        <p:xfrm>
          <a:off x="-108520" y="1628800"/>
          <a:ext cx="525658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xmlns="" val="3806031444"/>
              </p:ext>
            </p:extLst>
          </p:nvPr>
        </p:nvGraphicFramePr>
        <p:xfrm>
          <a:off x="3922250" y="1628800"/>
          <a:ext cx="5256584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xmlns="" val="868895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57200" y="917848"/>
            <a:ext cx="8507288" cy="1143000"/>
          </a:xfrm>
        </p:spPr>
        <p:txBody>
          <a:bodyPr>
            <a:normAutofit/>
          </a:bodyPr>
          <a:lstStyle/>
          <a:p>
            <a:r>
              <a:rPr lang="es-CO" sz="2400" b="1" i="1" kern="0" dirty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MODELOS ASEGURAMIENTO DE CALIDAD </a:t>
            </a:r>
            <a:r>
              <a:rPr lang="es-CO" sz="2400" b="1" i="1" kern="0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ETDH </a:t>
            </a:r>
            <a:endParaRPr lang="es-CO" sz="2400" b="1" i="1" kern="0" dirty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xmlns="" val="3992358386"/>
              </p:ext>
            </p:extLst>
          </p:nvPr>
        </p:nvGraphicFramePr>
        <p:xfrm>
          <a:off x="2336012" y="1600200"/>
          <a:ext cx="4388296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5076056" y="2924944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00099"/>
                </a:solidFill>
              </a:rPr>
              <a:t>SGC por Organismos de Tercera Parte</a:t>
            </a:r>
          </a:p>
        </p:txBody>
      </p:sp>
    </p:spTree>
    <p:extLst>
      <p:ext uri="{BB962C8B-B14F-4D97-AF65-F5344CB8AC3E}">
        <p14:creationId xmlns:p14="http://schemas.microsoft.com/office/powerpoint/2010/main" xmlns="" val="378470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99991" y="1374402"/>
            <a:ext cx="4298177" cy="4869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4 Grupo"/>
          <p:cNvGrpSpPr/>
          <p:nvPr/>
        </p:nvGrpSpPr>
        <p:grpSpPr>
          <a:xfrm>
            <a:off x="35496" y="2934995"/>
            <a:ext cx="1331851" cy="578013"/>
            <a:chOff x="2148577" y="2775"/>
            <a:chExt cx="1797424" cy="1078454"/>
          </a:xfrm>
        </p:grpSpPr>
        <p:sp>
          <p:nvSpPr>
            <p:cNvPr id="6" name="5 Rectángulo"/>
            <p:cNvSpPr/>
            <p:nvPr/>
          </p:nvSpPr>
          <p:spPr>
            <a:xfrm>
              <a:off x="2148577" y="2775"/>
              <a:ext cx="1797424" cy="1078454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780253"/>
                <a:satOff val="-973"/>
                <a:lumOff val="229"/>
                <a:alphaOff val="0"/>
              </a:schemeClr>
            </a:fillRef>
            <a:effectRef idx="0">
              <a:schemeClr val="accent2">
                <a:hueOff val="780253"/>
                <a:satOff val="-973"/>
                <a:lumOff val="22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6 Rectángulo"/>
            <p:cNvSpPr/>
            <p:nvPr/>
          </p:nvSpPr>
          <p:spPr>
            <a:xfrm>
              <a:off x="2148577" y="2775"/>
              <a:ext cx="1797424" cy="10784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defTabSz="7556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700" kern="1200" dirty="0" smtClean="0"/>
                <a:t>Diagramas</a:t>
              </a:r>
              <a:endParaRPr lang="es-CO" sz="1700" kern="1200" dirty="0"/>
            </a:p>
          </p:txBody>
        </p:sp>
      </p:grpSp>
      <p:cxnSp>
        <p:nvCxnSpPr>
          <p:cNvPr id="8" name="7 Conector recto de flecha"/>
          <p:cNvCxnSpPr/>
          <p:nvPr/>
        </p:nvCxnSpPr>
        <p:spPr>
          <a:xfrm>
            <a:off x="323528" y="3513008"/>
            <a:ext cx="0" cy="59233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8 CuadroTexto"/>
          <p:cNvSpPr txBox="1"/>
          <p:nvPr/>
        </p:nvSpPr>
        <p:spPr>
          <a:xfrm>
            <a:off x="395536" y="3626476"/>
            <a:ext cx="4426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10" name="1 Título"/>
          <p:cNvSpPr txBox="1">
            <a:spLocks/>
          </p:cNvSpPr>
          <p:nvPr/>
        </p:nvSpPr>
        <p:spPr bwMode="auto">
          <a:xfrm>
            <a:off x="4695088" y="332334"/>
            <a:ext cx="4628919" cy="936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" sz="2000" dirty="0" smtClean="0">
                <a:solidFill>
                  <a:srgbClr val="800000"/>
                </a:solidFill>
              </a:rPr>
              <a:t>Sistema de  Aseguramiento de Calidad para Educación para el Trabajo - SACET</a:t>
            </a:r>
            <a:endParaRPr lang="es-CO" sz="2000" dirty="0">
              <a:solidFill>
                <a:srgbClr val="800000"/>
              </a:solidFill>
            </a:endParaRPr>
          </a:p>
        </p:txBody>
      </p:sp>
      <p:sp>
        <p:nvSpPr>
          <p:cNvPr id="11" name="1 Título"/>
          <p:cNvSpPr txBox="1">
            <a:spLocks/>
          </p:cNvSpPr>
          <p:nvPr/>
        </p:nvSpPr>
        <p:spPr bwMode="auto">
          <a:xfrm>
            <a:off x="35496" y="1268438"/>
            <a:ext cx="4356992" cy="936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s-ES" sz="1800" dirty="0" smtClean="0">
                <a:solidFill>
                  <a:srgbClr val="800000"/>
                </a:solidFill>
              </a:rPr>
              <a:t>Equivalente a SACES de Educación Superior</a:t>
            </a:r>
          </a:p>
          <a:p>
            <a:pPr>
              <a:spcBef>
                <a:spcPts val="0"/>
              </a:spcBef>
              <a:defRPr/>
            </a:pPr>
            <a:r>
              <a:rPr lang="es-ES" sz="1800" dirty="0" smtClean="0">
                <a:solidFill>
                  <a:srgbClr val="800000"/>
                </a:solidFill>
              </a:rPr>
              <a:t>Diseñado por POINTMIND</a:t>
            </a:r>
            <a:endParaRPr lang="es-CO" sz="1800" dirty="0">
              <a:solidFill>
                <a:srgbClr val="800000"/>
              </a:solidFill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35496" y="1916832"/>
            <a:ext cx="4356992" cy="83099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1600" dirty="0" smtClean="0"/>
              <a:t>Trabajo en equipo con Tecnología, Aseguramiento de Calidad en ES, Inspección y Vigilancia.</a:t>
            </a:r>
            <a:endParaRPr lang="es-CO" sz="1600" dirty="0"/>
          </a:p>
        </p:txBody>
      </p:sp>
      <p:grpSp>
        <p:nvGrpSpPr>
          <p:cNvPr id="5" name="11 Grupo"/>
          <p:cNvGrpSpPr/>
          <p:nvPr/>
        </p:nvGrpSpPr>
        <p:grpSpPr>
          <a:xfrm>
            <a:off x="3059832" y="2934995"/>
            <a:ext cx="1337144" cy="578013"/>
            <a:chOff x="2148577" y="2775"/>
            <a:chExt cx="1797424" cy="1078454"/>
          </a:xfrm>
        </p:grpSpPr>
        <p:sp>
          <p:nvSpPr>
            <p:cNvPr id="13" name="12 Rectángulo"/>
            <p:cNvSpPr/>
            <p:nvPr/>
          </p:nvSpPr>
          <p:spPr>
            <a:xfrm>
              <a:off x="2148577" y="2775"/>
              <a:ext cx="1797424" cy="1078454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780253"/>
                <a:satOff val="-973"/>
                <a:lumOff val="229"/>
                <a:alphaOff val="0"/>
              </a:schemeClr>
            </a:fillRef>
            <a:effectRef idx="0">
              <a:schemeClr val="accent2">
                <a:hueOff val="780253"/>
                <a:satOff val="-973"/>
                <a:lumOff val="22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2148577" y="2775"/>
              <a:ext cx="1797424" cy="10784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defTabSz="755650" rtl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s-CO" sz="1700" kern="1200" dirty="0" smtClean="0"/>
                <a:t>Definición de Casos de Uso</a:t>
              </a:r>
              <a:endParaRPr lang="es-CO" sz="1700" kern="1200" dirty="0"/>
            </a:p>
          </p:txBody>
        </p:sp>
      </p:grpSp>
      <p:sp>
        <p:nvSpPr>
          <p:cNvPr id="16" name="15 CuadroTexto"/>
          <p:cNvSpPr txBox="1"/>
          <p:nvPr/>
        </p:nvSpPr>
        <p:spPr>
          <a:xfrm>
            <a:off x="3425006" y="3615407"/>
            <a:ext cx="636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75</a:t>
            </a:r>
            <a:endParaRPr lang="es-CO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16" y="4095308"/>
            <a:ext cx="4429000" cy="2646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16 Grupo"/>
          <p:cNvGrpSpPr/>
          <p:nvPr/>
        </p:nvGrpSpPr>
        <p:grpSpPr>
          <a:xfrm>
            <a:off x="1403648" y="2924944"/>
            <a:ext cx="1620688" cy="578013"/>
            <a:chOff x="2148577" y="2775"/>
            <a:chExt cx="1337144" cy="1078454"/>
          </a:xfrm>
        </p:grpSpPr>
        <p:sp>
          <p:nvSpPr>
            <p:cNvPr id="18" name="17 Rectángulo"/>
            <p:cNvSpPr/>
            <p:nvPr/>
          </p:nvSpPr>
          <p:spPr>
            <a:xfrm>
              <a:off x="2148577" y="2775"/>
              <a:ext cx="1337144" cy="1078454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780253"/>
                <a:satOff val="-973"/>
                <a:lumOff val="229"/>
                <a:alphaOff val="0"/>
              </a:schemeClr>
            </a:fillRef>
            <a:effectRef idx="0">
              <a:schemeClr val="accent2">
                <a:hueOff val="780253"/>
                <a:satOff val="-973"/>
                <a:lumOff val="22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18 Rectángulo"/>
            <p:cNvSpPr/>
            <p:nvPr/>
          </p:nvSpPr>
          <p:spPr>
            <a:xfrm>
              <a:off x="2148577" y="2775"/>
              <a:ext cx="1337144" cy="10784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defTabSz="755650" rtl="0">
                <a:spcBef>
                  <a:spcPct val="0"/>
                </a:spcBef>
                <a:spcAft>
                  <a:spcPts val="0"/>
                </a:spcAft>
              </a:pPr>
              <a:r>
                <a:rPr lang="es-CO" sz="1700" kern="1200" dirty="0" smtClean="0"/>
                <a:t>Requerimientos funcionales</a:t>
              </a:r>
              <a:endParaRPr lang="es-CO" sz="1700" kern="1200" dirty="0"/>
            </a:p>
          </p:txBody>
        </p:sp>
      </p:grpSp>
      <p:sp>
        <p:nvSpPr>
          <p:cNvPr id="21" name="20 CuadroTexto"/>
          <p:cNvSpPr txBox="1"/>
          <p:nvPr/>
        </p:nvSpPr>
        <p:spPr>
          <a:xfrm>
            <a:off x="1763688" y="3615407"/>
            <a:ext cx="802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22</a:t>
            </a:r>
            <a:endParaRPr lang="es-CO" dirty="0"/>
          </a:p>
        </p:txBody>
      </p:sp>
      <p:cxnSp>
        <p:nvCxnSpPr>
          <p:cNvPr id="25" name="24 Conector recto de flecha"/>
          <p:cNvCxnSpPr/>
          <p:nvPr/>
        </p:nvCxnSpPr>
        <p:spPr>
          <a:xfrm>
            <a:off x="3352998" y="3501008"/>
            <a:ext cx="0" cy="59233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25 Conector recto de flecha"/>
          <p:cNvCxnSpPr/>
          <p:nvPr/>
        </p:nvCxnSpPr>
        <p:spPr>
          <a:xfrm>
            <a:off x="1691680" y="3501008"/>
            <a:ext cx="0" cy="59233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21 Botón de acción: Comienzo">
            <a:hlinkClick r:id="rId4" action="ppaction://hlinksldjump" highlightClick="1"/>
          </p:cNvPr>
          <p:cNvSpPr/>
          <p:nvPr/>
        </p:nvSpPr>
        <p:spPr>
          <a:xfrm>
            <a:off x="8396356" y="6281936"/>
            <a:ext cx="882352" cy="576064"/>
          </a:xfrm>
          <a:prstGeom prst="actionButtonBeginning">
            <a:avLst/>
          </a:prstGeom>
          <a:solidFill>
            <a:srgbClr val="FF9900"/>
          </a:solidFill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7993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15127"/>
    </mc:Choice>
    <mc:Fallback>
      <p:transition spd="slow" advTm="15127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7126288" y="1773238"/>
            <a:ext cx="1873250" cy="1295400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dirty="0" smtClean="0"/>
              <a:t>SISTEMA NACIONAL  DE  CUALIFICACIONES </a:t>
            </a:r>
            <a:endParaRPr lang="es-CO" sz="1600" b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06450" y="1208833"/>
            <a:ext cx="8229600" cy="461665"/>
          </a:xfr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>
            <a:spAutoFit/>
          </a:bodyPr>
          <a:lstStyle/>
          <a:p>
            <a:pPr>
              <a:defRPr/>
            </a:pPr>
            <a:r>
              <a:rPr lang="es-CO" sz="2400" b="1" dirty="0" smtClean="0">
                <a:solidFill>
                  <a:schemeClr val="bg1"/>
                </a:solidFill>
                <a:cs typeface="Arial" charset="0"/>
              </a:rPr>
              <a:t>2. Fomentar </a:t>
            </a:r>
            <a:r>
              <a:rPr lang="es-CO" sz="2400" b="1" dirty="0">
                <a:solidFill>
                  <a:schemeClr val="bg1"/>
                </a:solidFill>
                <a:cs typeface="Arial" charset="0"/>
              </a:rPr>
              <a:t>innovación y pertinencia  de la </a:t>
            </a:r>
            <a:r>
              <a:rPr lang="es-CO" sz="2400" b="1" dirty="0" smtClean="0">
                <a:solidFill>
                  <a:schemeClr val="bg1"/>
                </a:solidFill>
                <a:cs typeface="Arial" charset="0"/>
              </a:rPr>
              <a:t>FTDH </a:t>
            </a:r>
            <a:endParaRPr lang="es-E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4023651972"/>
              </p:ext>
            </p:extLst>
          </p:nvPr>
        </p:nvGraphicFramePr>
        <p:xfrm>
          <a:off x="179512" y="1497210"/>
          <a:ext cx="7155538" cy="48121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Elipse"/>
          <p:cNvSpPr/>
          <p:nvPr/>
        </p:nvSpPr>
        <p:spPr bwMode="auto">
          <a:xfrm rot="16200000">
            <a:off x="5673628" y="2298602"/>
            <a:ext cx="1613095" cy="647700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NOVACION </a:t>
            </a:r>
          </a:p>
          <a:p>
            <a:pPr algn="ctr">
              <a:defRPr/>
            </a:pPr>
            <a:r>
              <a:rPr lang="es-CO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Y </a:t>
            </a:r>
          </a:p>
          <a:p>
            <a:pPr algn="ctr">
              <a:defRPr/>
            </a:pPr>
            <a:r>
              <a:rPr lang="es-CO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RTINENCIA</a:t>
            </a:r>
            <a:endParaRPr lang="es-CO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5826643" y="3789040"/>
            <a:ext cx="3153793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6940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5780" y="4230990"/>
            <a:ext cx="6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endParaRPr lang="es-ES">
              <a:solidFill>
                <a:srgbClr val="00B0F0"/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3851920" y="900009"/>
            <a:ext cx="5040560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</a:rPr>
              <a:t>¿</a:t>
            </a:r>
            <a:r>
              <a:rPr lang="en-US" sz="3200" b="1" dirty="0" err="1" smtClean="0">
                <a:solidFill>
                  <a:schemeClr val="bg1"/>
                </a:solidFill>
              </a:rPr>
              <a:t>Qué</a:t>
            </a:r>
            <a:r>
              <a:rPr lang="en-US" sz="3200" b="1" dirty="0" smtClean="0">
                <a:solidFill>
                  <a:schemeClr val="bg1"/>
                </a:solidFill>
              </a:rPr>
              <a:t> se </a:t>
            </a:r>
            <a:r>
              <a:rPr lang="en-US" sz="3200" b="1" dirty="0" err="1" smtClean="0">
                <a:solidFill>
                  <a:schemeClr val="bg1"/>
                </a:solidFill>
              </a:rPr>
              <a:t>está</a:t>
            </a:r>
            <a:r>
              <a:rPr lang="en-US" sz="3200" b="1" dirty="0" smtClean="0">
                <a:solidFill>
                  <a:schemeClr val="bg1"/>
                </a:solidFill>
              </a:rPr>
              <a:t> </a:t>
            </a:r>
            <a:r>
              <a:rPr lang="en-US" sz="3200" b="1" dirty="0" err="1" smtClean="0">
                <a:solidFill>
                  <a:schemeClr val="bg1"/>
                </a:solidFill>
              </a:rPr>
              <a:t>haciendo</a:t>
            </a:r>
            <a:r>
              <a:rPr lang="en-US" sz="3200" b="1" dirty="0" smtClean="0">
                <a:solidFill>
                  <a:schemeClr val="bg1"/>
                </a:solidFill>
              </a:rPr>
              <a:t>?</a:t>
            </a:r>
            <a:endParaRPr lang="en-US" sz="32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74612387"/>
              </p:ext>
            </p:extLst>
          </p:nvPr>
        </p:nvGraphicFramePr>
        <p:xfrm>
          <a:off x="107504" y="1592595"/>
          <a:ext cx="8928993" cy="27725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23699"/>
                <a:gridCol w="3141162"/>
                <a:gridCol w="2964132"/>
              </a:tblGrid>
              <a:tr h="329555">
                <a:tc gridSpan="3"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GRUPOS DE TRABAJO DEL GOBIERNO NACIONAL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/>
                    </a:p>
                  </a:txBody>
                  <a:tcPr/>
                </a:tc>
              </a:tr>
              <a:tr h="6333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Información y Estadísticas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Sistema Nacional de Cualificaciones</a:t>
                      </a:r>
                      <a:endParaRPr lang="es-ES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Involucramiento del Sector Privado</a:t>
                      </a:r>
                      <a:endParaRPr lang="en-US" sz="1600" b="1" dirty="0"/>
                    </a:p>
                  </a:txBody>
                  <a:tcPr anchor="ctr"/>
                </a:tc>
              </a:tr>
              <a:tr h="1773394"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ES" sz="1600" dirty="0" smtClean="0"/>
                        <a:t>Plan Estadístico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ES" sz="1600" dirty="0" smtClean="0"/>
                        <a:t>Sistema de Información para la gestión del recurso humano </a:t>
                      </a:r>
                      <a:endParaRPr lang="en-US" sz="16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ES" sz="1600" dirty="0" smtClean="0"/>
                        <a:t>Modelo de prospectiva y predicción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ES" sz="1600" dirty="0" smtClean="0"/>
                        <a:t>Sistema Nacional de Cualificacione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ES" sz="1600" dirty="0" smtClean="0"/>
                        <a:t>Marco Nacional de Cualificacione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ES" sz="1600" dirty="0" smtClean="0"/>
                        <a:t>Sistema de Aseguramiento de Calida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s-ES" sz="1600" kern="1200" dirty="0" smtClean="0"/>
                        <a:t>Involucramiento del sector productivo 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s-ES" sz="1600" kern="1200" dirty="0" smtClean="0"/>
                        <a:t>Involucramiento del sector de formación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s-ES" sz="1600" kern="1200" dirty="0" smtClean="0"/>
                        <a:t>Regionalización de la EGERH</a:t>
                      </a:r>
                      <a:endParaRPr lang="en-U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04428220"/>
              </p:ext>
            </p:extLst>
          </p:nvPr>
        </p:nvGraphicFramePr>
        <p:xfrm>
          <a:off x="179511" y="4653136"/>
          <a:ext cx="8784977" cy="15379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28293"/>
                <a:gridCol w="3240360"/>
                <a:gridCol w="2916324"/>
              </a:tblGrid>
              <a:tr h="7972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Diseño,</a:t>
                      </a:r>
                      <a:r>
                        <a:rPr lang="es-CO" sz="1600" baseline="0" dirty="0" smtClean="0"/>
                        <a:t> implementación y análisis de una encuesta a empresas</a:t>
                      </a:r>
                      <a:endParaRPr lang="en-US" sz="16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Sistemas</a:t>
                      </a:r>
                      <a:r>
                        <a:rPr lang="es-ES" sz="1600" baseline="0" dirty="0" smtClean="0"/>
                        <a:t> de Normalización, Evaluación y Certificación de Competencias Laborales y MNC</a:t>
                      </a:r>
                      <a:endParaRPr lang="es-ES" sz="1600" b="0" i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Socialización con el sector productivo</a:t>
                      </a:r>
                      <a:endParaRPr lang="en-US" sz="16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24822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Fortalecimiento</a:t>
                      </a:r>
                      <a:r>
                        <a:rPr lang="es-CO" sz="1600" baseline="0" dirty="0" smtClean="0"/>
                        <a:t> Institucional</a:t>
                      </a:r>
                      <a:endParaRPr lang="en-US" sz="16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/>
                </a:tc>
              </a:tr>
              <a:tr h="37972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s-ES_tradnl" dirty="0" smtClean="0"/>
                        <a:t>APOYO DEL BID 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en-US" sz="1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1855355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539552" y="1340768"/>
            <a:ext cx="82089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/>
            <a:endParaRPr lang="es-CO" sz="2400" dirty="0" smtClean="0">
              <a:solidFill>
                <a:schemeClr val="accent2"/>
              </a:solidFill>
            </a:endParaRPr>
          </a:p>
          <a:p>
            <a:pPr lvl="1" algn="just"/>
            <a:endParaRPr lang="es-CO" sz="2400" dirty="0">
              <a:solidFill>
                <a:schemeClr val="accent2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95536" y="1620083"/>
            <a:ext cx="838658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 algn="just">
              <a:buAutoNum type="arabicPeriod"/>
            </a:pPr>
            <a:r>
              <a:rPr lang="es-CO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Normalización de las cualificaciones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studio del arte de las  competencias en Colombia y el mundo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Rutas de formación y certificaciones de ET y FP en el país.</a:t>
            </a:r>
          </a:p>
          <a:p>
            <a:pPr marL="914400" lvl="1" indent="-457200" algn="just">
              <a:buAutoNum type="arabicPeriod"/>
            </a:pPr>
            <a:r>
              <a:rPr lang="es-CO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Definición de los niveles de cualificación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laboración de referentes conceptuales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Relación y papel de la CNO- </a:t>
            </a: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NCL </a:t>
            </a:r>
            <a:r>
              <a:rPr lang="es-CO" sz="20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y </a:t>
            </a: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RA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efinición de metodología</a:t>
            </a:r>
          </a:p>
          <a:p>
            <a:pPr marL="1257300" lvl="2" indent="-3429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 Definición de niveles.</a:t>
            </a:r>
          </a:p>
          <a:p>
            <a:pPr marL="914400" lvl="1" indent="-457200" algn="just">
              <a:buAutoNum type="arabicPeriod"/>
            </a:pPr>
            <a:r>
              <a:rPr lang="es-CO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onstrucción de los descriptores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propiación conceptual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efinición de metodología.</a:t>
            </a:r>
          </a:p>
          <a:p>
            <a:pPr marL="1371600" lvl="2" indent="-457200" algn="just">
              <a:buFont typeface="Wingdings" pitchFamily="2" charset="2"/>
              <a:buChar char="§"/>
            </a:pPr>
            <a:r>
              <a:rPr lang="es-CO" sz="20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laboración de descriptores</a:t>
            </a:r>
            <a:r>
              <a:rPr lang="es-CO" sz="2000" b="1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es-CO" sz="2000" b="1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4716016" y="404664"/>
            <a:ext cx="439735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s-CO" sz="2800" b="1" dirty="0" smtClean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Cómo construir el MNC?</a:t>
            </a:r>
            <a:endParaRPr lang="es-CO" sz="2800" b="1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  <a:p>
            <a:endParaRPr lang="es-CO" sz="2800" dirty="0"/>
          </a:p>
        </p:txBody>
      </p:sp>
      <p:sp>
        <p:nvSpPr>
          <p:cNvPr id="5" name="4 Botón de acción: Comienzo">
            <a:hlinkClick r:id="rId2" action="ppaction://hlinksldjump" highlightClick="1"/>
          </p:cNvPr>
          <p:cNvSpPr/>
          <p:nvPr/>
        </p:nvSpPr>
        <p:spPr>
          <a:xfrm>
            <a:off x="8396356" y="6281936"/>
            <a:ext cx="882352" cy="576064"/>
          </a:xfrm>
          <a:prstGeom prst="actionButtonBeginning">
            <a:avLst/>
          </a:prstGeom>
          <a:solidFill>
            <a:srgbClr val="FF9900"/>
          </a:solidFill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249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89032" y="3317840"/>
            <a:ext cx="2919472" cy="2919472"/>
          </a:xfrm>
          <a:prstGeom prst="rect">
            <a:avLst/>
          </a:prstGeom>
        </p:spPr>
      </p:pic>
      <p:sp>
        <p:nvSpPr>
          <p:cNvPr id="4" name="3 Rectángulo redondeado"/>
          <p:cNvSpPr/>
          <p:nvPr/>
        </p:nvSpPr>
        <p:spPr>
          <a:xfrm>
            <a:off x="7379270" y="1773238"/>
            <a:ext cx="1873250" cy="1295400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SISTENCIA TECNICA INTEGRAL ET Y EFTDH</a:t>
            </a:r>
            <a:endParaRPr lang="es-CO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06450" y="1208832"/>
            <a:ext cx="8229600" cy="461665"/>
          </a:xfr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>
            <a:spAutoFit/>
          </a:bodyPr>
          <a:lstStyle/>
          <a:p>
            <a:r>
              <a:rPr lang="es-ES" sz="2400" b="1" dirty="0" smtClean="0">
                <a:solidFill>
                  <a:schemeClr val="bg1"/>
                </a:solidFill>
                <a:cs typeface="Arial"/>
              </a:rPr>
              <a:t>3. Brindar </a:t>
            </a:r>
            <a:r>
              <a:rPr lang="es-ES" sz="2400" b="1" dirty="0">
                <a:solidFill>
                  <a:schemeClr val="bg1"/>
                </a:solidFill>
                <a:cs typeface="Arial"/>
              </a:rPr>
              <a:t>asistencia técnica efectiva a ET e </a:t>
            </a:r>
            <a:r>
              <a:rPr lang="es-ES" sz="2400" b="1" dirty="0" smtClean="0">
                <a:solidFill>
                  <a:schemeClr val="bg1"/>
                </a:solidFill>
                <a:cs typeface="Arial"/>
              </a:rPr>
              <a:t>IFTDH</a:t>
            </a:r>
            <a:endParaRPr lang="es-E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2866256689"/>
              </p:ext>
            </p:extLst>
          </p:nvPr>
        </p:nvGraphicFramePr>
        <p:xfrm>
          <a:off x="0" y="1484784"/>
          <a:ext cx="7335050" cy="5373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6 Elipse"/>
          <p:cNvSpPr/>
          <p:nvPr/>
        </p:nvSpPr>
        <p:spPr bwMode="auto">
          <a:xfrm rot="16200000">
            <a:off x="5745858" y="2586634"/>
            <a:ext cx="1613095" cy="647700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LIDAD </a:t>
            </a:r>
          </a:p>
          <a:p>
            <a:pPr algn="ctr">
              <a:defRPr/>
            </a:pPr>
            <a:r>
              <a:rPr lang="es-CO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Y PERTINENCIA</a:t>
            </a:r>
            <a:endParaRPr lang="es-CO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413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5396026" y="620688"/>
            <a:ext cx="3680540" cy="40862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s-CO" sz="1800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 Rounded MT Bold" pitchFamily="34" charset="0"/>
              </a:rPr>
              <a:t>Servicios y productos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1835695" y="1124744"/>
            <a:ext cx="4608513" cy="338554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lvl="0" algn="ctr"/>
            <a:r>
              <a:rPr lang="es-ES" sz="1600" dirty="0" smtClean="0">
                <a:solidFill>
                  <a:srgbClr val="000099"/>
                </a:solidFill>
              </a:rPr>
              <a:t>EVENTOS 2013 </a:t>
            </a:r>
            <a:endParaRPr lang="es-ES" sz="1600" dirty="0">
              <a:solidFill>
                <a:srgbClr val="000099"/>
              </a:solidFill>
            </a:endParaRPr>
          </a:p>
        </p:txBody>
      </p:sp>
      <p:sp>
        <p:nvSpPr>
          <p:cNvPr id="12" name="39 Título"/>
          <p:cNvSpPr txBox="1">
            <a:spLocks/>
          </p:cNvSpPr>
          <p:nvPr/>
        </p:nvSpPr>
        <p:spPr bwMode="auto">
          <a:xfrm>
            <a:off x="5364088" y="620688"/>
            <a:ext cx="3635896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3000"/>
              </a:lnSpc>
            </a:pPr>
            <a:endParaRPr lang="es-ES" sz="2800" b="1" dirty="0" smtClean="0">
              <a:solidFill>
                <a:schemeClr val="accent2">
                  <a:lumMod val="50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xmlns="" val="1443140445"/>
              </p:ext>
            </p:extLst>
          </p:nvPr>
        </p:nvGraphicFramePr>
        <p:xfrm>
          <a:off x="179512" y="1556792"/>
          <a:ext cx="8153964" cy="4725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539552" y="1556790"/>
            <a:ext cx="3185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rgbClr val="00B050"/>
                </a:solidFill>
              </a:rPr>
              <a:t>Santa Marta (Junio) - 10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rgbClr val="00B050"/>
                </a:solidFill>
              </a:rPr>
              <a:t>Cali (Agosto) - 10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rgbClr val="00B050"/>
                </a:solidFill>
              </a:rPr>
              <a:t>Barranquilla  (Agosto) - 48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rgbClr val="00B050"/>
                </a:solidFill>
              </a:rPr>
              <a:t>Bogotá (Septiembre) - 60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5292080" y="2863969"/>
            <a:ext cx="1872208" cy="276999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/>
              <a:t>Paipa (Junio) - 200</a:t>
            </a:r>
            <a:endParaRPr lang="es-CO" sz="1200" dirty="0"/>
          </a:p>
        </p:txBody>
      </p:sp>
      <p:sp>
        <p:nvSpPr>
          <p:cNvPr id="15" name="14 CuadroTexto"/>
          <p:cNvSpPr txBox="1"/>
          <p:nvPr/>
        </p:nvSpPr>
        <p:spPr>
          <a:xfrm>
            <a:off x="916652" y="3440033"/>
            <a:ext cx="2520280" cy="276999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/>
              <a:t>Bogotá (Julio) - 42</a:t>
            </a:r>
            <a:endParaRPr lang="es-CO" sz="1200" dirty="0"/>
          </a:p>
        </p:txBody>
      </p:sp>
      <p:sp>
        <p:nvSpPr>
          <p:cNvPr id="17" name="16 CuadroTexto"/>
          <p:cNvSpPr txBox="1"/>
          <p:nvPr/>
        </p:nvSpPr>
        <p:spPr>
          <a:xfrm>
            <a:off x="539552" y="5642957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s-CO" sz="1200" dirty="0" smtClean="0"/>
              <a:t>Cartagena (Noviembre) - 300</a:t>
            </a:r>
            <a:endParaRPr lang="es-CO" sz="1200" dirty="0"/>
          </a:p>
        </p:txBody>
      </p:sp>
      <p:sp>
        <p:nvSpPr>
          <p:cNvPr id="19" name="18 CuadroTexto"/>
          <p:cNvSpPr txBox="1"/>
          <p:nvPr/>
        </p:nvSpPr>
        <p:spPr>
          <a:xfrm>
            <a:off x="5657617" y="4839543"/>
            <a:ext cx="2735497" cy="4616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rgbClr val="00B050"/>
                </a:solidFill>
              </a:rPr>
              <a:t>Cali (Julio) - 4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rgbClr val="00B050"/>
                </a:solidFill>
              </a:rPr>
              <a:t>Medellín (septiembre) - 40</a:t>
            </a:r>
          </a:p>
        </p:txBody>
      </p:sp>
      <p:sp>
        <p:nvSpPr>
          <p:cNvPr id="20" name="19 CuadroTexto"/>
          <p:cNvSpPr txBox="1"/>
          <p:nvPr/>
        </p:nvSpPr>
        <p:spPr>
          <a:xfrm>
            <a:off x="539552" y="4005064"/>
            <a:ext cx="2808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rgbClr val="00B050"/>
                </a:solidFill>
              </a:rPr>
              <a:t>Valledupar (septiembre) -10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rgbClr val="00B050"/>
                </a:solidFill>
              </a:rPr>
              <a:t>Villavicencio (Septiembre) - 150 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rgbClr val="00B050"/>
                </a:solidFill>
              </a:rPr>
              <a:t>Bogotá  (Octubre) - 15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/>
              <a:t>Medellín (Noviembre) - 150</a:t>
            </a:r>
            <a:endParaRPr lang="es-CO" sz="12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2231" y="1357470"/>
            <a:ext cx="1501769" cy="1506499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0 Imagen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05124" y="3140968"/>
            <a:ext cx="2123728" cy="1720707"/>
          </a:xfrm>
          <a:prstGeom prst="rect">
            <a:avLst/>
          </a:prstGeom>
        </p:spPr>
      </p:pic>
      <p:sp>
        <p:nvSpPr>
          <p:cNvPr id="18" name="17 CuadroTexto"/>
          <p:cNvSpPr txBox="1"/>
          <p:nvPr/>
        </p:nvSpPr>
        <p:spPr>
          <a:xfrm>
            <a:off x="5657616" y="5519846"/>
            <a:ext cx="2735497" cy="52322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Se están acompañando 60 instituciones mediante talleres 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xmlns="" val="3649820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xmlns="" val="2367332900"/>
              </p:ext>
            </p:extLst>
          </p:nvPr>
        </p:nvGraphicFramePr>
        <p:xfrm>
          <a:off x="971600" y="1556792"/>
          <a:ext cx="7560840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8" name="37 Rectángulo"/>
          <p:cNvSpPr/>
          <p:nvPr/>
        </p:nvSpPr>
        <p:spPr>
          <a:xfrm>
            <a:off x="5436096" y="632882"/>
            <a:ext cx="3384376" cy="70788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CO" sz="2000" dirty="0" smtClean="0">
                <a:solidFill>
                  <a:schemeClr val="bg1"/>
                </a:solidFill>
              </a:rPr>
              <a:t>CONCLUSIONES</a:t>
            </a:r>
          </a:p>
          <a:p>
            <a:pPr algn="ctr"/>
            <a:r>
              <a:rPr lang="es-CO" sz="2000" dirty="0" smtClean="0">
                <a:solidFill>
                  <a:schemeClr val="bg1"/>
                </a:solidFill>
              </a:rPr>
              <a:t> GENERALES</a:t>
            </a:r>
            <a:endParaRPr lang="es-C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8525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xmlns="" val="1442389863"/>
              </p:ext>
            </p:extLst>
          </p:nvPr>
        </p:nvGraphicFramePr>
        <p:xfrm>
          <a:off x="539552" y="1700808"/>
          <a:ext cx="6624737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0 Imagen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204808">
            <a:off x="6268640" y="328261"/>
            <a:ext cx="2555775" cy="21080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30638291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484784"/>
            <a:ext cx="9259334" cy="3678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7217786" y="5250219"/>
            <a:ext cx="1228012" cy="10618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Educación Vocacional y de Entrenamiento (</a:t>
            </a:r>
            <a:r>
              <a:rPr lang="es-MX" sz="700" dirty="0" err="1"/>
              <a:t>Vocational</a:t>
            </a:r>
            <a:r>
              <a:rPr lang="es-MX" sz="700" dirty="0"/>
              <a:t> </a:t>
            </a:r>
            <a:r>
              <a:rPr lang="es-MX" sz="700" dirty="0" err="1"/>
              <a:t>Education</a:t>
            </a:r>
            <a:r>
              <a:rPr lang="es-MX" sz="700" dirty="0"/>
              <a:t> and Training), VET</a:t>
            </a:r>
            <a:endParaRPr lang="es-ES" sz="700" dirty="0"/>
          </a:p>
          <a:p>
            <a:pPr algn="ctr">
              <a:spcAft>
                <a:spcPts val="0"/>
              </a:spcAft>
            </a:pPr>
            <a:r>
              <a:rPr lang="es-MX" sz="700" dirty="0"/>
              <a:t> </a:t>
            </a:r>
            <a:endParaRPr lang="es-ES" sz="700" dirty="0"/>
          </a:p>
          <a:p>
            <a:pPr algn="ctr">
              <a:spcAft>
                <a:spcPts val="0"/>
              </a:spcAft>
            </a:pPr>
            <a:r>
              <a:rPr lang="es-MX" sz="700" dirty="0"/>
              <a:t>Educación Técnica y Adicional (</a:t>
            </a:r>
            <a:r>
              <a:rPr lang="es-MX" sz="700" dirty="0" err="1"/>
              <a:t>Technical</a:t>
            </a:r>
            <a:r>
              <a:rPr lang="es-MX" sz="700" dirty="0"/>
              <a:t> and </a:t>
            </a:r>
            <a:r>
              <a:rPr lang="es-MX" sz="700" dirty="0" err="1"/>
              <a:t>Further</a:t>
            </a:r>
            <a:r>
              <a:rPr lang="es-MX" sz="700" dirty="0"/>
              <a:t> </a:t>
            </a:r>
            <a:r>
              <a:rPr lang="es-MX" sz="700" dirty="0" err="1"/>
              <a:t>Education</a:t>
            </a:r>
            <a:r>
              <a:rPr lang="es-MX" sz="700" dirty="0"/>
              <a:t>), </a:t>
            </a:r>
            <a:r>
              <a:rPr lang="es-MX" sz="700" dirty="0" smtClean="0"/>
              <a:t>TAFE</a:t>
            </a:r>
            <a:endParaRPr lang="es-CO" sz="700" dirty="0"/>
          </a:p>
        </p:txBody>
      </p:sp>
      <p:sp>
        <p:nvSpPr>
          <p:cNvPr id="6" name="5 CuadroTexto"/>
          <p:cNvSpPr txBox="1"/>
          <p:nvPr/>
        </p:nvSpPr>
        <p:spPr>
          <a:xfrm>
            <a:off x="7919864" y="1052736"/>
            <a:ext cx="1044624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Educación Vocacional y de Entrenamiento (</a:t>
            </a:r>
            <a:r>
              <a:rPr lang="es-MX" sz="700" dirty="0" err="1"/>
              <a:t>Vocational</a:t>
            </a:r>
            <a:r>
              <a:rPr lang="es-MX" sz="700" dirty="0"/>
              <a:t> </a:t>
            </a:r>
            <a:r>
              <a:rPr lang="es-MX" sz="700" dirty="0" err="1"/>
              <a:t>Education</a:t>
            </a:r>
            <a:r>
              <a:rPr lang="es-MX" sz="700" dirty="0"/>
              <a:t> and Training), VET</a:t>
            </a:r>
            <a:endParaRPr lang="es-ES" sz="900" dirty="0"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9" name="8 Conector recto de flecha"/>
          <p:cNvCxnSpPr/>
          <p:nvPr/>
        </p:nvCxnSpPr>
        <p:spPr>
          <a:xfrm flipV="1">
            <a:off x="7739844" y="4365104"/>
            <a:ext cx="183896" cy="885115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11 Conector recto de flecha"/>
          <p:cNvCxnSpPr>
            <a:stCxn id="6" idx="1"/>
          </p:cNvCxnSpPr>
          <p:nvPr/>
        </p:nvCxnSpPr>
        <p:spPr>
          <a:xfrm flipH="1">
            <a:off x="7308304" y="1422068"/>
            <a:ext cx="611560" cy="1214844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0" name="19 CuadroTexto"/>
          <p:cNvSpPr txBox="1"/>
          <p:nvPr/>
        </p:nvSpPr>
        <p:spPr>
          <a:xfrm>
            <a:off x="0" y="4365104"/>
            <a:ext cx="936104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Educación Técnico Productiva y Tecnológica</a:t>
            </a:r>
            <a:endParaRPr lang="es-ES" sz="900" dirty="0"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1" name="20 Conector recto de flecha"/>
          <p:cNvCxnSpPr>
            <a:stCxn id="20" idx="3"/>
          </p:cNvCxnSpPr>
          <p:nvPr/>
        </p:nvCxnSpPr>
        <p:spPr>
          <a:xfrm flipV="1">
            <a:off x="936104" y="4005064"/>
            <a:ext cx="1331640" cy="621650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3" name="22 CuadroTexto"/>
          <p:cNvSpPr txBox="1"/>
          <p:nvPr/>
        </p:nvSpPr>
        <p:spPr>
          <a:xfrm>
            <a:off x="4790357" y="706051"/>
            <a:ext cx="936104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Educación Vocacional y de Entrenamiento (</a:t>
            </a:r>
            <a:r>
              <a:rPr lang="es-MX" sz="700" dirty="0" err="1"/>
              <a:t>Vocational</a:t>
            </a:r>
            <a:r>
              <a:rPr lang="es-MX" sz="700" dirty="0"/>
              <a:t> </a:t>
            </a:r>
            <a:r>
              <a:rPr lang="es-MX" sz="700" dirty="0" err="1"/>
              <a:t>Education</a:t>
            </a:r>
            <a:r>
              <a:rPr lang="es-MX" sz="700" dirty="0"/>
              <a:t> and Training), VET</a:t>
            </a:r>
            <a:endParaRPr lang="es-ES" sz="900" dirty="0"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4" name="23 Conector recto de flecha"/>
          <p:cNvCxnSpPr>
            <a:stCxn id="23" idx="2"/>
          </p:cNvCxnSpPr>
          <p:nvPr/>
        </p:nvCxnSpPr>
        <p:spPr>
          <a:xfrm flipH="1">
            <a:off x="4453136" y="1444715"/>
            <a:ext cx="805273" cy="739824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9" name="28 CuadroTexto"/>
          <p:cNvSpPr txBox="1"/>
          <p:nvPr/>
        </p:nvSpPr>
        <p:spPr>
          <a:xfrm>
            <a:off x="2738141" y="1613992"/>
            <a:ext cx="1570979" cy="4154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Educación y Formación Profesionales (</a:t>
            </a:r>
            <a:r>
              <a:rPr lang="es-MX" sz="700" dirty="0" err="1"/>
              <a:t>Enseignement</a:t>
            </a:r>
            <a:r>
              <a:rPr lang="es-MX" sz="700" dirty="0"/>
              <a:t> et </a:t>
            </a:r>
            <a:r>
              <a:rPr lang="es-MX" sz="700" dirty="0" err="1"/>
              <a:t>Formation</a:t>
            </a:r>
            <a:r>
              <a:rPr lang="es-MX" sz="700" dirty="0"/>
              <a:t> </a:t>
            </a:r>
            <a:r>
              <a:rPr lang="es-MX" sz="700" dirty="0" err="1"/>
              <a:t>Professionnels</a:t>
            </a:r>
            <a:r>
              <a:rPr lang="es-MX" sz="700" dirty="0"/>
              <a:t>), EFP</a:t>
            </a:r>
          </a:p>
        </p:txBody>
      </p:sp>
      <p:sp>
        <p:nvSpPr>
          <p:cNvPr id="30" name="29 CuadroTexto"/>
          <p:cNvSpPr txBox="1"/>
          <p:nvPr/>
        </p:nvSpPr>
        <p:spPr>
          <a:xfrm>
            <a:off x="2733328" y="5472277"/>
            <a:ext cx="936104" cy="5847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800" dirty="0"/>
              <a:t>Enseñanza Técnica (</a:t>
            </a:r>
            <a:r>
              <a:rPr lang="es-MX" sz="800" dirty="0" err="1"/>
              <a:t>Ensino</a:t>
            </a:r>
            <a:r>
              <a:rPr lang="es-MX" sz="800" dirty="0"/>
              <a:t> Técnico)</a:t>
            </a:r>
            <a:endParaRPr lang="es-ES" sz="105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5924714" y="848669"/>
            <a:ext cx="936104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Sistema Dual- formación profesional </a:t>
            </a:r>
            <a:r>
              <a:rPr lang="es-MX" sz="700" dirty="0" smtClean="0"/>
              <a:t>integral</a:t>
            </a:r>
            <a:endParaRPr lang="es-ES" sz="1000" dirty="0"/>
          </a:p>
        </p:txBody>
      </p:sp>
      <p:sp>
        <p:nvSpPr>
          <p:cNvPr id="32" name="31 CuadroTexto"/>
          <p:cNvSpPr txBox="1"/>
          <p:nvPr/>
        </p:nvSpPr>
        <p:spPr>
          <a:xfrm>
            <a:off x="0" y="1075383"/>
            <a:ext cx="936104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700" dirty="0"/>
              <a:t>Educación Vocacional y de Entrenamiento (</a:t>
            </a:r>
            <a:r>
              <a:rPr lang="es-MX" sz="700" dirty="0" err="1"/>
              <a:t>Vocational</a:t>
            </a:r>
            <a:r>
              <a:rPr lang="es-MX" sz="700" dirty="0"/>
              <a:t> </a:t>
            </a:r>
            <a:r>
              <a:rPr lang="es-MX" sz="700" dirty="0" err="1"/>
              <a:t>Education</a:t>
            </a:r>
            <a:r>
              <a:rPr lang="es-MX" sz="700" dirty="0"/>
              <a:t> and Training), VET</a:t>
            </a:r>
            <a:endParaRPr lang="es-ES" sz="100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936104" y="5238774"/>
            <a:ext cx="936104" cy="8309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800" dirty="0"/>
              <a:t>Formación Técnica y Profesional</a:t>
            </a:r>
          </a:p>
          <a:p>
            <a:pPr algn="ctr">
              <a:spcAft>
                <a:spcPts val="0"/>
              </a:spcAft>
            </a:pPr>
            <a:endParaRPr lang="es-MX" sz="800" dirty="0"/>
          </a:p>
          <a:p>
            <a:pPr algn="ctr">
              <a:spcAft>
                <a:spcPts val="0"/>
              </a:spcAft>
            </a:pPr>
            <a:r>
              <a:rPr lang="es-MX" sz="800" dirty="0"/>
              <a:t>Capacitación para el trabajo</a:t>
            </a:r>
            <a:endParaRPr lang="es-ES" sz="1050" dirty="0"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4" name="33 Conector recto de flecha"/>
          <p:cNvCxnSpPr/>
          <p:nvPr/>
        </p:nvCxnSpPr>
        <p:spPr>
          <a:xfrm>
            <a:off x="3923928" y="2029490"/>
            <a:ext cx="529208" cy="459051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7" name="36 Conector recto de flecha"/>
          <p:cNvCxnSpPr/>
          <p:nvPr/>
        </p:nvCxnSpPr>
        <p:spPr>
          <a:xfrm flipH="1" flipV="1">
            <a:off x="2987824" y="4005064"/>
            <a:ext cx="271405" cy="1467214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9" name="38 Conector recto de flecha"/>
          <p:cNvCxnSpPr>
            <a:stCxn id="31" idx="2"/>
          </p:cNvCxnSpPr>
          <p:nvPr/>
        </p:nvCxnSpPr>
        <p:spPr>
          <a:xfrm flipH="1">
            <a:off x="4725106" y="1371889"/>
            <a:ext cx="1667660" cy="887126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3" name="42 CuadroTexto"/>
          <p:cNvSpPr txBox="1"/>
          <p:nvPr/>
        </p:nvSpPr>
        <p:spPr>
          <a:xfrm>
            <a:off x="9241" y="2406079"/>
            <a:ext cx="936104" cy="4616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s-MX" sz="800" dirty="0"/>
              <a:t>Formación o Capacitación para el Trabajo</a:t>
            </a:r>
            <a:endParaRPr lang="es-ES" sz="1050" dirty="0"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47" name="46 Conector recto de flecha"/>
          <p:cNvCxnSpPr/>
          <p:nvPr/>
        </p:nvCxnSpPr>
        <p:spPr>
          <a:xfrm>
            <a:off x="936104" y="1613992"/>
            <a:ext cx="611560" cy="570547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8" name="47 Conector recto de flecha"/>
          <p:cNvCxnSpPr>
            <a:stCxn id="43" idx="3"/>
          </p:cNvCxnSpPr>
          <p:nvPr/>
        </p:nvCxnSpPr>
        <p:spPr>
          <a:xfrm>
            <a:off x="945345" y="2636912"/>
            <a:ext cx="602319" cy="360040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0" name="49 Conector recto de flecha"/>
          <p:cNvCxnSpPr/>
          <p:nvPr/>
        </p:nvCxnSpPr>
        <p:spPr>
          <a:xfrm flipV="1">
            <a:off x="1404156" y="4419223"/>
            <a:ext cx="1007604" cy="819551"/>
          </a:xfrm>
          <a:prstGeom prst="straightConnector1">
            <a:avLst/>
          </a:prstGeom>
          <a:ln w="22225"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5" name="Rectangle 3"/>
          <p:cNvSpPr txBox="1">
            <a:spLocks noChangeArrowheads="1"/>
          </p:cNvSpPr>
          <p:nvPr/>
        </p:nvSpPr>
        <p:spPr bwMode="auto">
          <a:xfrm>
            <a:off x="5924714" y="58351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DENOMINACIÓN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01258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22065"/>
    </mc:Choice>
    <mc:Fallback>
      <p:transition spd="slow" advTm="22065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xmlns="" val="1155769497"/>
              </p:ext>
            </p:extLst>
          </p:nvPr>
        </p:nvGraphicFramePr>
        <p:xfrm>
          <a:off x="971600" y="1556792"/>
          <a:ext cx="7416824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6" descr="IMG02104-20130613-115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0642065">
            <a:off x="6515227" y="593608"/>
            <a:ext cx="2272605" cy="19442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xmlns="" val="1345083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 Título"/>
          <p:cNvSpPr txBox="1">
            <a:spLocks/>
          </p:cNvSpPr>
          <p:nvPr/>
        </p:nvSpPr>
        <p:spPr bwMode="auto">
          <a:xfrm>
            <a:off x="4914602" y="213000"/>
            <a:ext cx="4229398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_tradnl" sz="1800" dirty="0" smtClean="0"/>
              <a:t>TALLER  SECRETARIOS DE EDUCACIÓN</a:t>
            </a:r>
          </a:p>
          <a:p>
            <a:pPr>
              <a:defRPr/>
            </a:pPr>
            <a:r>
              <a:rPr lang="es-ES_tradnl" sz="1800" dirty="0" smtClean="0"/>
              <a:t>Secretarías de Educación Certificadas. Bogotá, agosto 1 y 2 de 2013</a:t>
            </a:r>
            <a:endParaRPr lang="es-CO" sz="1800" dirty="0" smtClean="0"/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0" y="31813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45339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0" y="58864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0" y="72390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0" y="85915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0 Imagen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4015" y="1412776"/>
            <a:ext cx="1907705" cy="1512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0 Imagen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2" y="3212976"/>
            <a:ext cx="1907703" cy="134784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0 Imagen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2" y="4869160"/>
            <a:ext cx="1891070" cy="12961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15" name="1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71055794"/>
              </p:ext>
            </p:extLst>
          </p:nvPr>
        </p:nvGraphicFramePr>
        <p:xfrm>
          <a:off x="2483768" y="1916832"/>
          <a:ext cx="6336704" cy="4036388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280824"/>
                <a:gridCol w="5055880"/>
              </a:tblGrid>
              <a:tr h="487082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200"/>
                        </a:spcAft>
                      </a:pPr>
                      <a:r>
                        <a:rPr lang="es-ES_tradnl" sz="1800" kern="1200" dirty="0">
                          <a:solidFill>
                            <a:srgbClr val="CC0000"/>
                          </a:solidFill>
                          <a:effectLst/>
                        </a:rPr>
                        <a:t>¿Qué requiere mejorarse en su Entidad Territorial </a:t>
                      </a:r>
                      <a:r>
                        <a:rPr lang="es-ES_tradnl" sz="1800" kern="1200" dirty="0" smtClean="0">
                          <a:solidFill>
                            <a:srgbClr val="CC0000"/>
                          </a:solidFill>
                          <a:effectLst/>
                        </a:rPr>
                        <a:t> sobre </a:t>
                      </a:r>
                      <a:r>
                        <a:rPr lang="es-ES_tradnl" sz="1800" kern="1200" dirty="0">
                          <a:solidFill>
                            <a:srgbClr val="CC0000"/>
                          </a:solidFill>
                          <a:effectLst/>
                        </a:rPr>
                        <a:t>Formación para el Trabajo?</a:t>
                      </a:r>
                      <a:endParaRPr lang="es-CO" sz="1800" b="0" dirty="0">
                        <a:solidFill>
                          <a:srgbClr val="CC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8713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ESTRUCTURA ORGANIZATIVA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Fortalecer los equipos de las Secretarías de Educación para atender esta responsabilidad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Una mayor interacción entre el MEN y la Entidad Territorial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535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INSPECCION Y VIGILANCIA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Solucionar las debilidades en las áreas de Inspección y Vigilancia y calidad para calificar y acompañar </a:t>
                      </a:r>
                      <a:r>
                        <a:rPr lang="es-ES_tradnl" sz="1400" kern="1200" dirty="0" smtClean="0">
                          <a:effectLst/>
                        </a:rPr>
                        <a:t> a las IFTDH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752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RECURSOS FINANCIEROS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Recursos adicionales para atender este compromiso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Generar los recursos económicos para cofinanciar convenios y alianzas que favorezcan esta </a:t>
                      </a:r>
                      <a:r>
                        <a:rPr lang="es-ES_tradnl" sz="1400" kern="1200" dirty="0" smtClean="0">
                          <a:effectLst/>
                        </a:rPr>
                        <a:t>formación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535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</a:rPr>
                        <a:t>PERTINENCIA </a:t>
                      </a: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Y MERCADEO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Faltan </a:t>
                      </a:r>
                      <a:r>
                        <a:rPr lang="es-ES_tradnl" sz="1400" kern="1200" dirty="0">
                          <a:effectLst/>
                        </a:rPr>
                        <a:t>diagnóstico </a:t>
                      </a:r>
                      <a:r>
                        <a:rPr lang="es-ES_tradnl" sz="1400" kern="1200" dirty="0" smtClean="0">
                          <a:effectLst/>
                        </a:rPr>
                        <a:t>pertinente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Creación </a:t>
                      </a:r>
                      <a:r>
                        <a:rPr lang="es-ES_tradnl" sz="1400" kern="1200" dirty="0">
                          <a:effectLst/>
                        </a:rPr>
                        <a:t>de estrategias de mercado, necesidades y requerimientos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4356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INCENTIVOS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Estímulos a los estudiantes que participan en este tipo de formación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08431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 Título"/>
          <p:cNvSpPr txBox="1">
            <a:spLocks/>
          </p:cNvSpPr>
          <p:nvPr/>
        </p:nvSpPr>
        <p:spPr bwMode="auto">
          <a:xfrm>
            <a:off x="4914602" y="213000"/>
            <a:ext cx="4229398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_tradnl" sz="1600" dirty="0"/>
              <a:t>TALLER </a:t>
            </a:r>
            <a:endParaRPr lang="es-ES_tradnl" sz="1600" dirty="0" smtClean="0"/>
          </a:p>
          <a:p>
            <a:pPr>
              <a:defRPr/>
            </a:pPr>
            <a:r>
              <a:rPr lang="es-ES_tradnl" sz="1600" dirty="0" smtClean="0"/>
              <a:t>Modelo </a:t>
            </a:r>
            <a:r>
              <a:rPr lang="es-ES_tradnl" sz="1600" dirty="0"/>
              <a:t>de Aseguramiento de la Calidad  </a:t>
            </a:r>
            <a:endParaRPr lang="es-CO" sz="1600" dirty="0" smtClean="0"/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0" y="31813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45339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0" y="58864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0" y="72390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0" y="85915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1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73277059"/>
              </p:ext>
            </p:extLst>
          </p:nvPr>
        </p:nvGraphicFramePr>
        <p:xfrm>
          <a:off x="2267744" y="1556792"/>
          <a:ext cx="6768752" cy="4904232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368152"/>
                <a:gridCol w="5400600"/>
              </a:tblGrid>
              <a:tr h="470263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200"/>
                        </a:spcAft>
                      </a:pPr>
                      <a:r>
                        <a:rPr lang="es-ES_tradnl" sz="1600" kern="1200" dirty="0" smtClean="0">
                          <a:solidFill>
                            <a:srgbClr val="CC0000"/>
                          </a:solidFill>
                          <a:effectLst/>
                        </a:rPr>
                        <a:t>Se analizó</a:t>
                      </a:r>
                      <a:r>
                        <a:rPr lang="es-ES_tradnl" sz="1600" kern="1200" baseline="0" dirty="0" smtClean="0">
                          <a:solidFill>
                            <a:srgbClr val="CC0000"/>
                          </a:solidFill>
                          <a:effectLst/>
                        </a:rPr>
                        <a:t> con un grupo representativo de Secretarías de Educación Certificadas e Instituciones de Formación para el Trabajo de la Región</a:t>
                      </a:r>
                      <a:endParaRPr lang="es-CO" sz="1600" b="0" dirty="0">
                        <a:solidFill>
                          <a:srgbClr val="CC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932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300" b="1" dirty="0" smtClean="0">
                          <a:solidFill>
                            <a:srgbClr val="FFFF00"/>
                          </a:solidFill>
                          <a:effectLst/>
                        </a:rPr>
                        <a:t>PERCEPCIÓN</a:t>
                      </a:r>
                      <a:r>
                        <a:rPr lang="es-CO" sz="1300" b="1" baseline="0" dirty="0" smtClean="0">
                          <a:solidFill>
                            <a:srgbClr val="FFFF00"/>
                          </a:solidFill>
                          <a:effectLst/>
                        </a:rPr>
                        <a:t> DE </a:t>
                      </a:r>
                      <a:r>
                        <a:rPr lang="es-CO" sz="1300" b="1" dirty="0" smtClean="0">
                          <a:solidFill>
                            <a:srgbClr val="FFFF00"/>
                          </a:solidFill>
                          <a:effectLst/>
                        </a:rPr>
                        <a:t>LA</a:t>
                      </a:r>
                      <a:r>
                        <a:rPr lang="es-CO" sz="1300" b="1" baseline="0" dirty="0" smtClean="0">
                          <a:solidFill>
                            <a:srgbClr val="FFFF00"/>
                          </a:solidFill>
                          <a:effectLst/>
                        </a:rPr>
                        <a:t> PROPUESTA MACFPT</a:t>
                      </a:r>
                      <a:endParaRPr lang="es-CO" sz="13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Es fundamental y de vital importancia el desarrollo del Modelo</a:t>
                      </a:r>
                      <a:r>
                        <a:rPr lang="es-ES_tradnl" sz="1400" kern="1200" baseline="0" dirty="0" smtClean="0">
                          <a:effectLst/>
                        </a:rPr>
                        <a:t> de Aseguramiento de la Calidad para esta oferta educativa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Llamado al compromiso de todos</a:t>
                      </a:r>
                      <a:r>
                        <a:rPr lang="es-ES_tradnl" sz="1400" kern="1200" baseline="0" dirty="0" smtClean="0">
                          <a:effectLst/>
                        </a:rPr>
                        <a:t> los actores para fortalecer el proceso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11691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</a:rPr>
                        <a:t>SUGERENCIAS AL MACFPT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Modelo con identidad propia</a:t>
                      </a:r>
                      <a:r>
                        <a:rPr lang="es-ES_tradnl" sz="1400" kern="1200" baseline="0" dirty="0" smtClean="0">
                          <a:effectLst/>
                        </a:rPr>
                        <a:t> para la FPT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err="1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esignificar</a:t>
                      </a: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los incentivos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Explorar la opción de pares amigos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Fortalecimiento de las redes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Formar parte activa del Marco Nacional de Cualificaciones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7098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</a:rPr>
                        <a:t>APORTES A LA PROPUESTA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CO" sz="1400" kern="1200" dirty="0" smtClean="0">
                          <a:effectLst/>
                        </a:rPr>
                        <a:t>Fortalecimiento</a:t>
                      </a:r>
                      <a:r>
                        <a:rPr lang="es-CO" sz="1400" kern="1200" baseline="0" dirty="0" smtClean="0">
                          <a:effectLst/>
                        </a:rPr>
                        <a:t> del proceso de Inspección y Vigilancia por parte de las S.E.C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Fortalecimiento desde el MEN al equipo de trabajo para un mayor acompañamiento al proceso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301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GERENCIAS</a:t>
                      </a:r>
                      <a:r>
                        <a:rPr lang="es-CO" sz="1400" b="1" baseline="0" dirty="0" smtClean="0">
                          <a:solidFill>
                            <a:srgbClr val="FFFF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 LA PARTICIPACIÓN DE LAS S.E.C Y LAS IFT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Mayor</a:t>
                      </a:r>
                      <a:r>
                        <a:rPr lang="es-ES_tradnl" sz="1400" kern="1200" baseline="0" dirty="0" smtClean="0">
                          <a:effectLst/>
                        </a:rPr>
                        <a:t> cumplimiento de la normatividad vigente</a:t>
                      </a:r>
                      <a:endParaRPr lang="es-ES_tradnl" sz="1400" kern="1200" dirty="0" smtClean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Veedores</a:t>
                      </a:r>
                      <a:r>
                        <a:rPr lang="es-ES_tradnl" sz="1400" kern="1200" baseline="0" dirty="0" smtClean="0">
                          <a:effectLst/>
                        </a:rPr>
                        <a:t> del proceso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ayor regulación y propender por los fines de la educación 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Garantizar mayor coordinación entre el MEN – Secretarías de Educación Certificadas y las IFT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0" name="1 Título"/>
          <p:cNvSpPr txBox="1">
            <a:spLocks/>
          </p:cNvSpPr>
          <p:nvPr/>
        </p:nvSpPr>
        <p:spPr bwMode="auto">
          <a:xfrm>
            <a:off x="3995936" y="1016732"/>
            <a:ext cx="4229398" cy="396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_tradnl" sz="2000" dirty="0" smtClean="0"/>
              <a:t> </a:t>
            </a:r>
            <a:endParaRPr lang="es-CO" sz="2000" dirty="0" smtClean="0"/>
          </a:p>
        </p:txBody>
      </p:sp>
      <p:pic>
        <p:nvPicPr>
          <p:cNvPr id="21" name="2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3318" y="3068960"/>
            <a:ext cx="1885736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4" name="23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3319" y="1469808"/>
            <a:ext cx="1885736" cy="1311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5" name="24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2177" y="4725144"/>
            <a:ext cx="1869543" cy="135147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" name="17 Botón de acción: Comienzo">
            <a:hlinkClick r:id="rId5" action="ppaction://hlinksldjump" highlightClick="1"/>
          </p:cNvPr>
          <p:cNvSpPr/>
          <p:nvPr/>
        </p:nvSpPr>
        <p:spPr>
          <a:xfrm>
            <a:off x="8396356" y="6281936"/>
            <a:ext cx="882352" cy="576064"/>
          </a:xfrm>
          <a:prstGeom prst="actionButtonBeginning">
            <a:avLst/>
          </a:prstGeom>
          <a:solidFill>
            <a:srgbClr val="FF9900"/>
          </a:solidFill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4233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5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60032" y="3645024"/>
            <a:ext cx="3688758" cy="2592288"/>
          </a:xfrm>
          <a:prstGeom prst="rect">
            <a:avLst/>
          </a:prstGeom>
        </p:spPr>
      </p:pic>
      <p:sp>
        <p:nvSpPr>
          <p:cNvPr id="4" name="3 Rectángulo redondeado"/>
          <p:cNvSpPr/>
          <p:nvPr/>
        </p:nvSpPr>
        <p:spPr>
          <a:xfrm>
            <a:off x="7270750" y="1772816"/>
            <a:ext cx="1873250" cy="1440160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RTICULACION NIVELES EDUCATIVOS, GOBIERNO Y SECTOR PRODUCTIVO </a:t>
            </a:r>
            <a:endParaRPr lang="es-CO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51520" y="1239609"/>
            <a:ext cx="8892480" cy="400110"/>
          </a:xfr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O" sz="2000" b="1" dirty="0">
                <a:solidFill>
                  <a:schemeClr val="bg1"/>
                </a:solidFill>
                <a:cs typeface="Arial" charset="0"/>
              </a:rPr>
              <a:t>4. </a:t>
            </a:r>
            <a:r>
              <a:rPr lang="es-ES" sz="2000" b="1" dirty="0">
                <a:solidFill>
                  <a:schemeClr val="bg1"/>
                </a:solidFill>
                <a:cs typeface="Arial"/>
              </a:rPr>
              <a:t>Asegurar la articulación entre los niveles educativos y el sector </a:t>
            </a:r>
            <a:r>
              <a:rPr lang="es-ES" sz="2000" b="1" dirty="0" smtClean="0">
                <a:solidFill>
                  <a:schemeClr val="bg1"/>
                </a:solidFill>
                <a:cs typeface="Arial"/>
              </a:rPr>
              <a:t>productivo</a:t>
            </a:r>
            <a:endParaRPr lang="es-ES" sz="20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1762524817"/>
              </p:ext>
            </p:extLst>
          </p:nvPr>
        </p:nvGraphicFramePr>
        <p:xfrm>
          <a:off x="-36512" y="1484784"/>
          <a:ext cx="7227546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6 Elipse"/>
          <p:cNvSpPr/>
          <p:nvPr/>
        </p:nvSpPr>
        <p:spPr bwMode="auto">
          <a:xfrm rot="16200000">
            <a:off x="5699344" y="2219509"/>
            <a:ext cx="1541087" cy="647700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rticulación</a:t>
            </a:r>
            <a:endParaRPr lang="es-CO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7 Botón de acción: Comienzo">
            <a:hlinkClick r:id="rId7" action="ppaction://hlinksldjump" highlightClick="1"/>
          </p:cNvPr>
          <p:cNvSpPr/>
          <p:nvPr/>
        </p:nvSpPr>
        <p:spPr>
          <a:xfrm>
            <a:off x="8396356" y="6281936"/>
            <a:ext cx="882352" cy="576064"/>
          </a:xfrm>
          <a:prstGeom prst="actionButtonBeginning">
            <a:avLst/>
          </a:prstGeom>
          <a:solidFill>
            <a:srgbClr val="FF9900"/>
          </a:solidFill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8904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28184" y="3429000"/>
            <a:ext cx="2915816" cy="30119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3 Rectángulo redondeado"/>
          <p:cNvSpPr/>
          <p:nvPr/>
        </p:nvSpPr>
        <p:spPr>
          <a:xfrm>
            <a:off x="7126288" y="1845568"/>
            <a:ext cx="1873250" cy="1410398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ISTEMA NACIONAL DE FORMACION PARA EL TRABAJO CONSOLIDADO</a:t>
            </a:r>
            <a:endParaRPr lang="es-CO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06450" y="1024167"/>
            <a:ext cx="8229600" cy="830997"/>
          </a:xfr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>
            <a:spAutoFit/>
          </a:bodyPr>
          <a:lstStyle/>
          <a:p>
            <a:pPr lvl="1">
              <a:defRPr/>
            </a:pPr>
            <a:r>
              <a:rPr lang="es-E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. </a:t>
            </a: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olidación Sistema </a:t>
            </a:r>
            <a:r>
              <a:rPr lang="es-E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acional de Formación para el </a:t>
            </a: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bajo</a:t>
            </a:r>
            <a:endParaRPr lang="es-E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3050197280"/>
              </p:ext>
            </p:extLst>
          </p:nvPr>
        </p:nvGraphicFramePr>
        <p:xfrm>
          <a:off x="-108520" y="1484784"/>
          <a:ext cx="744357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6 Elipse"/>
          <p:cNvSpPr/>
          <p:nvPr/>
        </p:nvSpPr>
        <p:spPr bwMode="auto">
          <a:xfrm rot="16200000">
            <a:off x="5760145" y="2212085"/>
            <a:ext cx="1440061" cy="647700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istema </a:t>
            </a:r>
            <a:r>
              <a:rPr lang="es-CO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al</a:t>
            </a:r>
            <a:r>
              <a:rPr lang="es-CO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FT</a:t>
            </a:r>
            <a:endParaRPr lang="es-CO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1784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2" name="1 Grupo"/>
          <p:cNvGrpSpPr>
            <a:grpSpLocks/>
          </p:cNvGrpSpPr>
          <p:nvPr/>
        </p:nvGrpSpPr>
        <p:grpSpPr bwMode="auto">
          <a:xfrm>
            <a:off x="1222375" y="4941888"/>
            <a:ext cx="1204913" cy="1276350"/>
            <a:chOff x="363548" y="4782051"/>
            <a:chExt cx="1444426" cy="163151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6137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 dirty="0"/>
                <a:t>R</a:t>
              </a:r>
            </a:p>
            <a:p>
              <a:r>
                <a:rPr lang="es-CO" sz="700" dirty="0"/>
                <a:t>E</a:t>
              </a:r>
            </a:p>
            <a:p>
              <a:r>
                <a:rPr lang="es-CO" sz="700" dirty="0"/>
                <a:t>G</a:t>
              </a:r>
            </a:p>
            <a:p>
              <a:r>
                <a:rPr lang="es-CO" sz="700" dirty="0"/>
                <a:t>I</a:t>
              </a:r>
            </a:p>
            <a:p>
              <a:r>
                <a:rPr lang="es-CO" sz="700" dirty="0"/>
                <a:t>O</a:t>
              </a:r>
            </a:p>
            <a:p>
              <a:r>
                <a:rPr lang="es-CO" sz="700" dirty="0"/>
                <a:t>N</a:t>
              </a:r>
            </a:p>
            <a:p>
              <a:r>
                <a:rPr lang="es-CO" sz="700" dirty="0"/>
                <a:t>A</a:t>
              </a:r>
            </a:p>
            <a:p>
              <a:r>
                <a:rPr lang="es-CO" sz="700" dirty="0"/>
                <a:t>L</a:t>
              </a:r>
            </a:p>
            <a:p>
              <a:endParaRPr lang="es-CO" sz="700" dirty="0"/>
            </a:p>
            <a:p>
              <a:endParaRPr lang="es-CO" sz="700" dirty="0"/>
            </a:p>
            <a:p>
              <a:r>
                <a:rPr lang="es-CO" sz="700" dirty="0"/>
                <a:t>1</a:t>
              </a:r>
            </a:p>
          </p:txBody>
        </p:sp>
        <p:sp>
          <p:nvSpPr>
            <p:cNvPr id="46138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2</a:t>
              </a:r>
            </a:p>
          </p:txBody>
        </p:sp>
        <p:sp>
          <p:nvSpPr>
            <p:cNvPr id="46139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3</a:t>
              </a:r>
            </a:p>
          </p:txBody>
        </p:sp>
        <p:sp>
          <p:nvSpPr>
            <p:cNvPr id="46140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4</a:t>
              </a:r>
            </a:p>
          </p:txBody>
        </p:sp>
        <p:sp>
          <p:nvSpPr>
            <p:cNvPr id="46141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9</a:t>
              </a:r>
            </a:p>
          </p:txBody>
        </p:sp>
      </p:grpSp>
      <p:sp>
        <p:nvSpPr>
          <p:cNvPr id="46083" name="8 CuadroTexto"/>
          <p:cNvSpPr txBox="1">
            <a:spLocks noChangeArrowheads="1"/>
          </p:cNvSpPr>
          <p:nvPr/>
        </p:nvSpPr>
        <p:spPr bwMode="auto">
          <a:xfrm>
            <a:off x="4098925" y="1717675"/>
            <a:ext cx="1270000" cy="26193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/>
              <a:t>RED NACIONAL</a:t>
            </a:r>
          </a:p>
        </p:txBody>
      </p:sp>
      <p:sp>
        <p:nvSpPr>
          <p:cNvPr id="46084" name="9 CuadroTexto"/>
          <p:cNvSpPr txBox="1">
            <a:spLocks noChangeArrowheads="1"/>
          </p:cNvSpPr>
          <p:nvPr/>
        </p:nvSpPr>
        <p:spPr bwMode="auto">
          <a:xfrm>
            <a:off x="6635750" y="2055813"/>
            <a:ext cx="1597025" cy="2619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/>
              <a:t>COMITÉS TÉCNICOS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1217613" y="3228975"/>
            <a:ext cx="1177925" cy="23018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CARIBE</a:t>
            </a:r>
          </a:p>
        </p:txBody>
      </p:sp>
      <p:sp>
        <p:nvSpPr>
          <p:cNvPr id="46086" name="14 Rectángulo"/>
          <p:cNvSpPr>
            <a:spLocks noChangeArrowheads="1"/>
          </p:cNvSpPr>
          <p:nvPr/>
        </p:nvSpPr>
        <p:spPr bwMode="auto">
          <a:xfrm>
            <a:off x="1217613" y="3651250"/>
            <a:ext cx="1177925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46087" name="15 Rectángulo"/>
          <p:cNvSpPr>
            <a:spLocks noChangeArrowheads="1"/>
          </p:cNvSpPr>
          <p:nvPr/>
        </p:nvSpPr>
        <p:spPr bwMode="auto">
          <a:xfrm>
            <a:off x="1217613" y="3846513"/>
            <a:ext cx="1173162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18" name="17 Conector angular"/>
          <p:cNvCxnSpPr>
            <a:stCxn id="46083" idx="2"/>
            <a:endCxn id="14" idx="0"/>
          </p:cNvCxnSpPr>
          <p:nvPr/>
        </p:nvCxnSpPr>
        <p:spPr>
          <a:xfrm rot="5400000">
            <a:off x="2645569" y="1140619"/>
            <a:ext cx="1249362" cy="2927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61 Conector recto"/>
          <p:cNvCxnSpPr/>
          <p:nvPr/>
        </p:nvCxnSpPr>
        <p:spPr>
          <a:xfrm flipH="1" flipV="1">
            <a:off x="4733925" y="2282825"/>
            <a:ext cx="1901825" cy="111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90" name="70 Rectángulo"/>
          <p:cNvSpPr>
            <a:spLocks noChangeArrowheads="1"/>
          </p:cNvSpPr>
          <p:nvPr/>
        </p:nvSpPr>
        <p:spPr bwMode="auto">
          <a:xfrm>
            <a:off x="1200150" y="4165600"/>
            <a:ext cx="1173163" cy="3698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23" name="22 Conector recto de flecha"/>
          <p:cNvCxnSpPr>
            <a:stCxn id="46087" idx="2"/>
          </p:cNvCxnSpPr>
          <p:nvPr/>
        </p:nvCxnSpPr>
        <p:spPr>
          <a:xfrm flipH="1">
            <a:off x="1787525" y="4078288"/>
            <a:ext cx="15875" cy="2206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angular"/>
          <p:cNvCxnSpPr>
            <a:stCxn id="46090" idx="2"/>
          </p:cNvCxnSpPr>
          <p:nvPr/>
        </p:nvCxnSpPr>
        <p:spPr>
          <a:xfrm rot="5400000">
            <a:off x="1518444" y="4366419"/>
            <a:ext cx="100012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8 Conector angular"/>
          <p:cNvCxnSpPr>
            <a:stCxn id="46090" idx="2"/>
          </p:cNvCxnSpPr>
          <p:nvPr/>
        </p:nvCxnSpPr>
        <p:spPr>
          <a:xfrm rot="16200000" flipH="1">
            <a:off x="1993901" y="4329112"/>
            <a:ext cx="100012" cy="51276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angular"/>
          <p:cNvCxnSpPr>
            <a:stCxn id="46090" idx="2"/>
          </p:cNvCxnSpPr>
          <p:nvPr/>
        </p:nvCxnSpPr>
        <p:spPr>
          <a:xfrm rot="5400000">
            <a:off x="1637507" y="4485481"/>
            <a:ext cx="100012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angular"/>
          <p:cNvCxnSpPr>
            <a:stCxn id="46090" idx="2"/>
          </p:cNvCxnSpPr>
          <p:nvPr/>
        </p:nvCxnSpPr>
        <p:spPr>
          <a:xfrm rot="16200000" flipH="1">
            <a:off x="1874838" y="4448175"/>
            <a:ext cx="100012" cy="2746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43 Conector angular"/>
          <p:cNvCxnSpPr>
            <a:stCxn id="46090" idx="2"/>
          </p:cNvCxnSpPr>
          <p:nvPr/>
        </p:nvCxnSpPr>
        <p:spPr>
          <a:xfrm rot="16200000" flipH="1">
            <a:off x="1756569" y="4566444"/>
            <a:ext cx="100012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121 CuadroTexto"/>
          <p:cNvSpPr txBox="1"/>
          <p:nvPr/>
        </p:nvSpPr>
        <p:spPr>
          <a:xfrm>
            <a:off x="7112000" y="3240088"/>
            <a:ext cx="1177925" cy="230187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ANDINA</a:t>
            </a:r>
          </a:p>
        </p:txBody>
      </p:sp>
      <p:sp>
        <p:nvSpPr>
          <p:cNvPr id="46098" name="122 Rectángulo"/>
          <p:cNvSpPr>
            <a:spLocks noChangeArrowheads="1"/>
          </p:cNvSpPr>
          <p:nvPr/>
        </p:nvSpPr>
        <p:spPr bwMode="auto">
          <a:xfrm>
            <a:off x="7112000" y="3662363"/>
            <a:ext cx="1177925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46099" name="123 Rectángulo"/>
          <p:cNvSpPr>
            <a:spLocks noChangeArrowheads="1"/>
          </p:cNvSpPr>
          <p:nvPr/>
        </p:nvSpPr>
        <p:spPr bwMode="auto">
          <a:xfrm>
            <a:off x="7112000" y="3859213"/>
            <a:ext cx="1173163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sp>
        <p:nvSpPr>
          <p:cNvPr id="46100" name="126 Rectángulo"/>
          <p:cNvSpPr>
            <a:spLocks noChangeArrowheads="1"/>
          </p:cNvSpPr>
          <p:nvPr/>
        </p:nvSpPr>
        <p:spPr bwMode="auto">
          <a:xfrm>
            <a:off x="7094538" y="4178300"/>
            <a:ext cx="1173162" cy="368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128" name="127 Conector recto de flecha"/>
          <p:cNvCxnSpPr>
            <a:stCxn id="46099" idx="2"/>
          </p:cNvCxnSpPr>
          <p:nvPr/>
        </p:nvCxnSpPr>
        <p:spPr>
          <a:xfrm flipH="1">
            <a:off x="7681913" y="4089400"/>
            <a:ext cx="15875" cy="220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128 Conector angular"/>
          <p:cNvCxnSpPr>
            <a:stCxn id="46100" idx="2"/>
          </p:cNvCxnSpPr>
          <p:nvPr/>
        </p:nvCxnSpPr>
        <p:spPr>
          <a:xfrm rot="5400000">
            <a:off x="7412831" y="4377532"/>
            <a:ext cx="100013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129 Conector angular"/>
          <p:cNvCxnSpPr>
            <a:stCxn id="46100" idx="2"/>
          </p:cNvCxnSpPr>
          <p:nvPr/>
        </p:nvCxnSpPr>
        <p:spPr>
          <a:xfrm rot="16200000" flipH="1">
            <a:off x="7888287" y="4340226"/>
            <a:ext cx="100013" cy="5127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130 Conector angular"/>
          <p:cNvCxnSpPr>
            <a:stCxn id="46100" idx="2"/>
          </p:cNvCxnSpPr>
          <p:nvPr/>
        </p:nvCxnSpPr>
        <p:spPr>
          <a:xfrm rot="5400000">
            <a:off x="7531894" y="4496594"/>
            <a:ext cx="100013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131 Conector angular"/>
          <p:cNvCxnSpPr>
            <a:stCxn id="46100" idx="2"/>
          </p:cNvCxnSpPr>
          <p:nvPr/>
        </p:nvCxnSpPr>
        <p:spPr>
          <a:xfrm rot="16200000" flipH="1">
            <a:off x="7769225" y="4459288"/>
            <a:ext cx="100013" cy="2746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132 Conector angular"/>
          <p:cNvCxnSpPr>
            <a:stCxn id="46100" idx="2"/>
          </p:cNvCxnSpPr>
          <p:nvPr/>
        </p:nvCxnSpPr>
        <p:spPr>
          <a:xfrm rot="16200000" flipH="1">
            <a:off x="7650956" y="4577557"/>
            <a:ext cx="100013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45 Conector angular"/>
          <p:cNvCxnSpPr/>
          <p:nvPr/>
        </p:nvCxnSpPr>
        <p:spPr>
          <a:xfrm rot="5400000">
            <a:off x="4178300" y="2682876"/>
            <a:ext cx="1112837" cy="111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angular"/>
          <p:cNvCxnSpPr>
            <a:stCxn id="46083" idx="2"/>
            <a:endCxn id="122" idx="0"/>
          </p:cNvCxnSpPr>
          <p:nvPr/>
        </p:nvCxnSpPr>
        <p:spPr>
          <a:xfrm rot="16200000" flipH="1">
            <a:off x="5587206" y="1126332"/>
            <a:ext cx="1260475" cy="29670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109" name="58 CuadroTexto"/>
          <p:cNvSpPr txBox="1">
            <a:spLocks noChangeArrowheads="1"/>
          </p:cNvSpPr>
          <p:nvPr/>
        </p:nvSpPr>
        <p:spPr bwMode="auto">
          <a:xfrm>
            <a:off x="2835275" y="3121025"/>
            <a:ext cx="4921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sp>
        <p:nvSpPr>
          <p:cNvPr id="46110" name="133 CuadroTexto"/>
          <p:cNvSpPr txBox="1">
            <a:spLocks noChangeArrowheads="1"/>
          </p:cNvSpPr>
          <p:nvPr/>
        </p:nvSpPr>
        <p:spPr bwMode="auto">
          <a:xfrm>
            <a:off x="6042025" y="3127375"/>
            <a:ext cx="49371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sp>
        <p:nvSpPr>
          <p:cNvPr id="79" name="78 CuadroTexto"/>
          <p:cNvSpPr txBox="1"/>
          <p:nvPr/>
        </p:nvSpPr>
        <p:spPr>
          <a:xfrm>
            <a:off x="4160838" y="3240088"/>
            <a:ext cx="1179512" cy="230187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PACÍFICO</a:t>
            </a:r>
          </a:p>
        </p:txBody>
      </p:sp>
      <p:sp>
        <p:nvSpPr>
          <p:cNvPr id="46112" name="79 Rectángulo"/>
          <p:cNvSpPr>
            <a:spLocks noChangeArrowheads="1"/>
          </p:cNvSpPr>
          <p:nvPr/>
        </p:nvSpPr>
        <p:spPr bwMode="auto">
          <a:xfrm>
            <a:off x="4160838" y="3662363"/>
            <a:ext cx="1179512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46113" name="80 Rectángulo"/>
          <p:cNvSpPr>
            <a:spLocks noChangeArrowheads="1"/>
          </p:cNvSpPr>
          <p:nvPr/>
        </p:nvSpPr>
        <p:spPr bwMode="auto">
          <a:xfrm>
            <a:off x="4160838" y="3859213"/>
            <a:ext cx="1174750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sp>
        <p:nvSpPr>
          <p:cNvPr id="46114" name="83 Rectángulo"/>
          <p:cNvSpPr>
            <a:spLocks noChangeArrowheads="1"/>
          </p:cNvSpPr>
          <p:nvPr/>
        </p:nvSpPr>
        <p:spPr bwMode="auto">
          <a:xfrm>
            <a:off x="4144963" y="4178300"/>
            <a:ext cx="1173162" cy="368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85" name="84 Conector recto de flecha"/>
          <p:cNvCxnSpPr>
            <a:stCxn id="46113" idx="2"/>
          </p:cNvCxnSpPr>
          <p:nvPr/>
        </p:nvCxnSpPr>
        <p:spPr>
          <a:xfrm flipH="1">
            <a:off x="4730750" y="4089400"/>
            <a:ext cx="17463" cy="220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85 Conector angular"/>
          <p:cNvCxnSpPr>
            <a:stCxn id="46114" idx="2"/>
          </p:cNvCxnSpPr>
          <p:nvPr/>
        </p:nvCxnSpPr>
        <p:spPr>
          <a:xfrm rot="5400000">
            <a:off x="4462462" y="4378326"/>
            <a:ext cx="100013" cy="4365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86 Conector angular"/>
          <p:cNvCxnSpPr>
            <a:stCxn id="46114" idx="2"/>
          </p:cNvCxnSpPr>
          <p:nvPr/>
        </p:nvCxnSpPr>
        <p:spPr>
          <a:xfrm rot="16200000" flipH="1">
            <a:off x="4937918" y="4339432"/>
            <a:ext cx="100013" cy="514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87 Conector angular"/>
          <p:cNvCxnSpPr>
            <a:stCxn id="46114" idx="2"/>
          </p:cNvCxnSpPr>
          <p:nvPr/>
        </p:nvCxnSpPr>
        <p:spPr>
          <a:xfrm rot="5400000">
            <a:off x="4581525" y="4497388"/>
            <a:ext cx="100013" cy="1984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88 Conector angular"/>
          <p:cNvCxnSpPr>
            <a:stCxn id="46114" idx="2"/>
          </p:cNvCxnSpPr>
          <p:nvPr/>
        </p:nvCxnSpPr>
        <p:spPr>
          <a:xfrm rot="16200000" flipH="1">
            <a:off x="4818856" y="4458494"/>
            <a:ext cx="100013" cy="2762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89 Conector angular"/>
          <p:cNvCxnSpPr>
            <a:stCxn id="46114" idx="2"/>
          </p:cNvCxnSpPr>
          <p:nvPr/>
        </p:nvCxnSpPr>
        <p:spPr>
          <a:xfrm rot="16200000" flipH="1">
            <a:off x="4699793" y="4577557"/>
            <a:ext cx="100013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1 Título"/>
          <p:cNvSpPr txBox="1">
            <a:spLocks/>
          </p:cNvSpPr>
          <p:nvPr/>
        </p:nvSpPr>
        <p:spPr>
          <a:xfrm>
            <a:off x="5308584" y="332656"/>
            <a:ext cx="3439880" cy="72075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REDES REGIONALES</a:t>
            </a:r>
            <a:endParaRPr lang="es-ES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46122" name="1 Grupo"/>
          <p:cNvGrpSpPr>
            <a:grpSpLocks/>
          </p:cNvGrpSpPr>
          <p:nvPr/>
        </p:nvGrpSpPr>
        <p:grpSpPr bwMode="auto">
          <a:xfrm>
            <a:off x="4159250" y="4941888"/>
            <a:ext cx="1204913" cy="1276350"/>
            <a:chOff x="363548" y="4782051"/>
            <a:chExt cx="1444426" cy="163151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6132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1</a:t>
              </a:r>
            </a:p>
          </p:txBody>
        </p:sp>
        <p:sp>
          <p:nvSpPr>
            <p:cNvPr id="46133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2</a:t>
              </a:r>
            </a:p>
          </p:txBody>
        </p:sp>
        <p:sp>
          <p:nvSpPr>
            <p:cNvPr id="46134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3</a:t>
              </a:r>
            </a:p>
          </p:txBody>
        </p:sp>
        <p:sp>
          <p:nvSpPr>
            <p:cNvPr id="46135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4</a:t>
              </a:r>
            </a:p>
          </p:txBody>
        </p:sp>
        <p:sp>
          <p:nvSpPr>
            <p:cNvPr id="46136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9</a:t>
              </a:r>
            </a:p>
          </p:txBody>
        </p:sp>
      </p:grpSp>
      <p:grpSp>
        <p:nvGrpSpPr>
          <p:cNvPr id="46123" name="1 Grupo"/>
          <p:cNvGrpSpPr>
            <a:grpSpLocks/>
          </p:cNvGrpSpPr>
          <p:nvPr/>
        </p:nvGrpSpPr>
        <p:grpSpPr bwMode="auto">
          <a:xfrm>
            <a:off x="7183438" y="4941888"/>
            <a:ext cx="1204912" cy="1276350"/>
            <a:chOff x="363548" y="4782051"/>
            <a:chExt cx="1444426" cy="163151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6127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1</a:t>
              </a:r>
            </a:p>
          </p:txBody>
        </p:sp>
        <p:sp>
          <p:nvSpPr>
            <p:cNvPr id="46128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2</a:t>
              </a:r>
            </a:p>
          </p:txBody>
        </p:sp>
        <p:sp>
          <p:nvSpPr>
            <p:cNvPr id="46129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3</a:t>
              </a:r>
            </a:p>
          </p:txBody>
        </p:sp>
        <p:sp>
          <p:nvSpPr>
            <p:cNvPr id="46130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4</a:t>
              </a:r>
            </a:p>
          </p:txBody>
        </p:sp>
        <p:sp>
          <p:nvSpPr>
            <p:cNvPr id="46131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9</a:t>
              </a:r>
            </a:p>
          </p:txBody>
        </p:sp>
      </p:grpSp>
      <p:cxnSp>
        <p:nvCxnSpPr>
          <p:cNvPr id="3" name="2 Conector recto de flecha"/>
          <p:cNvCxnSpPr/>
          <p:nvPr/>
        </p:nvCxnSpPr>
        <p:spPr>
          <a:xfrm flipH="1">
            <a:off x="1785938" y="4581525"/>
            <a:ext cx="1587" cy="360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77 Conector recto de flecha"/>
          <p:cNvCxnSpPr>
            <a:endCxn id="46134" idx="0"/>
          </p:cNvCxnSpPr>
          <p:nvPr/>
        </p:nvCxnSpPr>
        <p:spPr>
          <a:xfrm>
            <a:off x="4749800" y="4581525"/>
            <a:ext cx="11113" cy="360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79 Conector recto de flecha"/>
          <p:cNvCxnSpPr>
            <a:endCxn id="46129" idx="0"/>
          </p:cNvCxnSpPr>
          <p:nvPr/>
        </p:nvCxnSpPr>
        <p:spPr>
          <a:xfrm>
            <a:off x="7773988" y="4581525"/>
            <a:ext cx="12700" cy="360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Rectángulo"/>
          <p:cNvSpPr/>
          <p:nvPr/>
        </p:nvSpPr>
        <p:spPr>
          <a:xfrm>
            <a:off x="-36512" y="1287115"/>
            <a:ext cx="3729947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/>
            <a:r>
              <a:rPr lang="es-CO" sz="1200" dirty="0" smtClean="0"/>
              <a:t>PROPOSITO</a:t>
            </a:r>
          </a:p>
          <a:p>
            <a:pPr algn="just"/>
            <a:r>
              <a:rPr lang="es-CO" sz="1200" dirty="0" smtClean="0"/>
              <a:t>Articular  </a:t>
            </a:r>
            <a:r>
              <a:rPr lang="es-CO" sz="1200" dirty="0"/>
              <a:t>y coordinar esfuerzos para  contribuir  al desarrollo regional, ofreciendo ET y FPI  pertinente y de calidad,   coherentes con las políticas y estrategias de los planes de Desarrollo </a:t>
            </a:r>
            <a:r>
              <a:rPr lang="es-CO" sz="1200" dirty="0" smtClean="0"/>
              <a:t>Regional.</a:t>
            </a:r>
            <a:endParaRPr lang="es-CO" sz="1200" dirty="0"/>
          </a:p>
        </p:txBody>
      </p:sp>
      <p:pic>
        <p:nvPicPr>
          <p:cNvPr id="64" name="0 Imagen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8308" y="908720"/>
            <a:ext cx="1594211" cy="112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94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914" name="1 Grupo"/>
          <p:cNvGrpSpPr>
            <a:grpSpLocks/>
          </p:cNvGrpSpPr>
          <p:nvPr/>
        </p:nvGrpSpPr>
        <p:grpSpPr bwMode="auto">
          <a:xfrm>
            <a:off x="489769" y="4696420"/>
            <a:ext cx="1204913" cy="1601788"/>
            <a:chOff x="363548" y="4782051"/>
            <a:chExt cx="1444353" cy="204371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8977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8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9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80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81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</p:grpSp>
      <p:sp>
        <p:nvSpPr>
          <p:cNvPr id="38915" name="8 CuadroTexto"/>
          <p:cNvSpPr txBox="1">
            <a:spLocks noChangeArrowheads="1"/>
          </p:cNvSpPr>
          <p:nvPr/>
        </p:nvSpPr>
        <p:spPr bwMode="auto">
          <a:xfrm>
            <a:off x="2861494" y="1100733"/>
            <a:ext cx="2281238" cy="4302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/>
              <a:t>COMITÉ NACIONAL DE REDES</a:t>
            </a:r>
          </a:p>
          <a:p>
            <a:pPr algn="ctr"/>
            <a:r>
              <a:rPr lang="es-CO" sz="1100"/>
              <a:t>MEN – MINTRABAJO - SENA</a:t>
            </a:r>
          </a:p>
        </p:txBody>
      </p:sp>
      <p:sp>
        <p:nvSpPr>
          <p:cNvPr id="38916" name="9 CuadroTexto"/>
          <p:cNvSpPr txBox="1">
            <a:spLocks noChangeArrowheads="1"/>
          </p:cNvSpPr>
          <p:nvPr/>
        </p:nvSpPr>
        <p:spPr bwMode="auto">
          <a:xfrm>
            <a:off x="5903144" y="1438870"/>
            <a:ext cx="1597025" cy="2603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/>
              <a:t>COMITÉS TÉCNICOS</a:t>
            </a:r>
          </a:p>
        </p:txBody>
      </p:sp>
      <p:sp>
        <p:nvSpPr>
          <p:cNvPr id="38917" name="10 CuadroTexto"/>
          <p:cNvSpPr txBox="1">
            <a:spLocks noChangeArrowheads="1"/>
          </p:cNvSpPr>
          <p:nvPr/>
        </p:nvSpPr>
        <p:spPr bwMode="auto">
          <a:xfrm>
            <a:off x="485007" y="3081933"/>
            <a:ext cx="1177925" cy="231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ASAMBLEA</a:t>
            </a:r>
          </a:p>
        </p:txBody>
      </p:sp>
      <p:sp>
        <p:nvSpPr>
          <p:cNvPr id="38918" name="11 CuadroTexto"/>
          <p:cNvSpPr txBox="1">
            <a:spLocks noChangeArrowheads="1"/>
          </p:cNvSpPr>
          <p:nvPr/>
        </p:nvSpPr>
        <p:spPr bwMode="auto">
          <a:xfrm>
            <a:off x="485007" y="3399433"/>
            <a:ext cx="1177925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COMITÉ DIRECCIÓN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485007" y="2610445"/>
            <a:ext cx="1177925" cy="50800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POR</a:t>
            </a:r>
          </a:p>
          <a:p>
            <a:pPr algn="ctr">
              <a:defRPr/>
            </a:pPr>
            <a:r>
              <a:rPr lang="es-CO" sz="900" dirty="0"/>
              <a:t>AREA DESEMPEÑO</a:t>
            </a:r>
          </a:p>
        </p:txBody>
      </p:sp>
      <p:sp>
        <p:nvSpPr>
          <p:cNvPr id="38920" name="14 Rectángulo"/>
          <p:cNvSpPr>
            <a:spLocks noChangeArrowheads="1"/>
          </p:cNvSpPr>
          <p:nvPr/>
        </p:nvSpPr>
        <p:spPr bwMode="auto">
          <a:xfrm>
            <a:off x="485007" y="3580408"/>
            <a:ext cx="1177925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38921" name="15 Rectángulo"/>
          <p:cNvSpPr>
            <a:spLocks noChangeArrowheads="1"/>
          </p:cNvSpPr>
          <p:nvPr/>
        </p:nvSpPr>
        <p:spPr bwMode="auto">
          <a:xfrm>
            <a:off x="485007" y="3777258"/>
            <a:ext cx="1173162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18" name="17 Conector angular"/>
          <p:cNvCxnSpPr>
            <a:stCxn id="38915" idx="2"/>
            <a:endCxn id="14" idx="0"/>
          </p:cNvCxnSpPr>
          <p:nvPr/>
        </p:nvCxnSpPr>
        <p:spPr>
          <a:xfrm rot="5400000">
            <a:off x="1997894" y="607020"/>
            <a:ext cx="1079500" cy="2927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 de flecha"/>
          <p:cNvCxnSpPr/>
          <p:nvPr/>
        </p:nvCxnSpPr>
        <p:spPr>
          <a:xfrm>
            <a:off x="1073969" y="2935883"/>
            <a:ext cx="0" cy="146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angular"/>
          <p:cNvCxnSpPr/>
          <p:nvPr/>
        </p:nvCxnSpPr>
        <p:spPr>
          <a:xfrm rot="5400000">
            <a:off x="1017613" y="3344664"/>
            <a:ext cx="112713" cy="95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61 Conector recto"/>
          <p:cNvCxnSpPr/>
          <p:nvPr/>
        </p:nvCxnSpPr>
        <p:spPr>
          <a:xfrm flipH="1" flipV="1">
            <a:off x="4001319" y="1665883"/>
            <a:ext cx="1901825" cy="95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26" name="70 Rectángulo"/>
          <p:cNvSpPr>
            <a:spLocks noChangeArrowheads="1"/>
          </p:cNvSpPr>
          <p:nvPr/>
        </p:nvSpPr>
        <p:spPr bwMode="auto">
          <a:xfrm>
            <a:off x="467544" y="4228108"/>
            <a:ext cx="1173163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23" name="22 Conector recto de flecha"/>
          <p:cNvCxnSpPr>
            <a:stCxn id="38921" idx="2"/>
            <a:endCxn id="38926" idx="0"/>
          </p:cNvCxnSpPr>
          <p:nvPr/>
        </p:nvCxnSpPr>
        <p:spPr>
          <a:xfrm flipH="1">
            <a:off x="1054919" y="4007445"/>
            <a:ext cx="15875" cy="220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angular"/>
          <p:cNvCxnSpPr>
            <a:stCxn id="38926" idx="2"/>
            <a:endCxn id="38977" idx="0"/>
          </p:cNvCxnSpPr>
          <p:nvPr/>
        </p:nvCxnSpPr>
        <p:spPr>
          <a:xfrm rot="5400000">
            <a:off x="786631" y="4428133"/>
            <a:ext cx="98425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8 Conector angular"/>
          <p:cNvCxnSpPr>
            <a:stCxn id="38926" idx="2"/>
            <a:endCxn id="38981" idx="0"/>
          </p:cNvCxnSpPr>
          <p:nvPr/>
        </p:nvCxnSpPr>
        <p:spPr>
          <a:xfrm rot="16200000" flipH="1">
            <a:off x="1262088" y="4390826"/>
            <a:ext cx="98425" cy="51276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angular"/>
          <p:cNvCxnSpPr>
            <a:stCxn id="38926" idx="2"/>
            <a:endCxn id="38978" idx="0"/>
          </p:cNvCxnSpPr>
          <p:nvPr/>
        </p:nvCxnSpPr>
        <p:spPr>
          <a:xfrm rot="5400000">
            <a:off x="905694" y="4547195"/>
            <a:ext cx="98425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angular"/>
          <p:cNvCxnSpPr>
            <a:stCxn id="38926" idx="2"/>
            <a:endCxn id="38980" idx="0"/>
          </p:cNvCxnSpPr>
          <p:nvPr/>
        </p:nvCxnSpPr>
        <p:spPr>
          <a:xfrm rot="16200000" flipH="1">
            <a:off x="1143025" y="4509889"/>
            <a:ext cx="98425" cy="2746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43 Conector angular"/>
          <p:cNvCxnSpPr>
            <a:stCxn id="38926" idx="2"/>
            <a:endCxn id="38979" idx="0"/>
          </p:cNvCxnSpPr>
          <p:nvPr/>
        </p:nvCxnSpPr>
        <p:spPr>
          <a:xfrm rot="16200000" flipH="1">
            <a:off x="1024756" y="4628158"/>
            <a:ext cx="98425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933" name="113 Grupo"/>
          <p:cNvGrpSpPr>
            <a:grpSpLocks/>
          </p:cNvGrpSpPr>
          <p:nvPr/>
        </p:nvGrpSpPr>
        <p:grpSpPr bwMode="auto">
          <a:xfrm>
            <a:off x="6384157" y="4709120"/>
            <a:ext cx="1204912" cy="1600200"/>
            <a:chOff x="363548" y="4782051"/>
            <a:chExt cx="1444353" cy="204371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8972" name="114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3" name="115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4" name="116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5" name="117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6" name="118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</p:grpSp>
      <p:sp>
        <p:nvSpPr>
          <p:cNvPr id="38934" name="119 CuadroTexto"/>
          <p:cNvSpPr txBox="1">
            <a:spLocks noChangeArrowheads="1"/>
          </p:cNvSpPr>
          <p:nvPr/>
        </p:nvSpPr>
        <p:spPr bwMode="auto">
          <a:xfrm>
            <a:off x="6379394" y="3094633"/>
            <a:ext cx="1177925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ASAMBLEA</a:t>
            </a:r>
          </a:p>
        </p:txBody>
      </p:sp>
      <p:sp>
        <p:nvSpPr>
          <p:cNvPr id="38935" name="120 CuadroTexto"/>
          <p:cNvSpPr txBox="1">
            <a:spLocks noChangeArrowheads="1"/>
          </p:cNvSpPr>
          <p:nvPr/>
        </p:nvSpPr>
        <p:spPr bwMode="auto">
          <a:xfrm>
            <a:off x="6379394" y="3412133"/>
            <a:ext cx="1177925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COMITÉ DIRECCIÓN</a:t>
            </a:r>
          </a:p>
        </p:txBody>
      </p:sp>
      <p:sp>
        <p:nvSpPr>
          <p:cNvPr id="122" name="121 CuadroTexto"/>
          <p:cNvSpPr txBox="1"/>
          <p:nvPr/>
        </p:nvSpPr>
        <p:spPr>
          <a:xfrm>
            <a:off x="6379394" y="2623145"/>
            <a:ext cx="1177925" cy="23018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N9</a:t>
            </a:r>
          </a:p>
        </p:txBody>
      </p:sp>
      <p:sp>
        <p:nvSpPr>
          <p:cNvPr id="38937" name="122 Rectángulo"/>
          <p:cNvSpPr>
            <a:spLocks noChangeArrowheads="1"/>
          </p:cNvSpPr>
          <p:nvPr/>
        </p:nvSpPr>
        <p:spPr bwMode="auto">
          <a:xfrm>
            <a:off x="6379394" y="3593108"/>
            <a:ext cx="1177925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38938" name="123 Rectángulo"/>
          <p:cNvSpPr>
            <a:spLocks noChangeArrowheads="1"/>
          </p:cNvSpPr>
          <p:nvPr/>
        </p:nvSpPr>
        <p:spPr bwMode="auto">
          <a:xfrm>
            <a:off x="6379394" y="3788370"/>
            <a:ext cx="1173163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125" name="124 Conector recto de flecha"/>
          <p:cNvCxnSpPr/>
          <p:nvPr/>
        </p:nvCxnSpPr>
        <p:spPr>
          <a:xfrm>
            <a:off x="6968357" y="2948583"/>
            <a:ext cx="0" cy="146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125 Conector angular"/>
          <p:cNvCxnSpPr/>
          <p:nvPr/>
        </p:nvCxnSpPr>
        <p:spPr>
          <a:xfrm rot="5400000">
            <a:off x="6912001" y="3355776"/>
            <a:ext cx="112712" cy="95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41" name="126 Rectángulo"/>
          <p:cNvSpPr>
            <a:spLocks noChangeArrowheads="1"/>
          </p:cNvSpPr>
          <p:nvPr/>
        </p:nvSpPr>
        <p:spPr bwMode="auto">
          <a:xfrm>
            <a:off x="6361932" y="4239220"/>
            <a:ext cx="1173162" cy="3698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128" name="127 Conector recto de flecha"/>
          <p:cNvCxnSpPr>
            <a:stCxn id="38938" idx="2"/>
            <a:endCxn id="38941" idx="0"/>
          </p:cNvCxnSpPr>
          <p:nvPr/>
        </p:nvCxnSpPr>
        <p:spPr>
          <a:xfrm flipH="1">
            <a:off x="6949307" y="4020145"/>
            <a:ext cx="15875" cy="2190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128 Conector angular"/>
          <p:cNvCxnSpPr>
            <a:stCxn id="38941" idx="2"/>
            <a:endCxn id="38972" idx="0"/>
          </p:cNvCxnSpPr>
          <p:nvPr/>
        </p:nvCxnSpPr>
        <p:spPr>
          <a:xfrm rot="5400000">
            <a:off x="6680226" y="4440039"/>
            <a:ext cx="100012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129 Conector angular"/>
          <p:cNvCxnSpPr>
            <a:stCxn id="38941" idx="2"/>
            <a:endCxn id="38976" idx="0"/>
          </p:cNvCxnSpPr>
          <p:nvPr/>
        </p:nvCxnSpPr>
        <p:spPr>
          <a:xfrm rot="16200000" flipH="1">
            <a:off x="7155682" y="4402733"/>
            <a:ext cx="100012" cy="5127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130 Conector angular"/>
          <p:cNvCxnSpPr>
            <a:stCxn id="38941" idx="2"/>
            <a:endCxn id="38973" idx="0"/>
          </p:cNvCxnSpPr>
          <p:nvPr/>
        </p:nvCxnSpPr>
        <p:spPr>
          <a:xfrm rot="5400000">
            <a:off x="6799289" y="4559101"/>
            <a:ext cx="100012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131 Conector angular"/>
          <p:cNvCxnSpPr>
            <a:stCxn id="38941" idx="2"/>
            <a:endCxn id="38975" idx="0"/>
          </p:cNvCxnSpPr>
          <p:nvPr/>
        </p:nvCxnSpPr>
        <p:spPr>
          <a:xfrm rot="16200000" flipH="1">
            <a:off x="7036620" y="4521795"/>
            <a:ext cx="100012" cy="2746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132 Conector angular"/>
          <p:cNvCxnSpPr>
            <a:stCxn id="38941" idx="2"/>
            <a:endCxn id="38974" idx="0"/>
          </p:cNvCxnSpPr>
          <p:nvPr/>
        </p:nvCxnSpPr>
        <p:spPr>
          <a:xfrm rot="16200000" flipH="1">
            <a:off x="6918351" y="4640064"/>
            <a:ext cx="100012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45 Conector angular"/>
          <p:cNvCxnSpPr/>
          <p:nvPr/>
        </p:nvCxnSpPr>
        <p:spPr>
          <a:xfrm rot="5400000">
            <a:off x="3445694" y="2065933"/>
            <a:ext cx="1112838" cy="111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angular"/>
          <p:cNvCxnSpPr>
            <a:stCxn id="38915" idx="2"/>
            <a:endCxn id="122" idx="0"/>
          </p:cNvCxnSpPr>
          <p:nvPr/>
        </p:nvCxnSpPr>
        <p:spPr>
          <a:xfrm rot="16200000" flipH="1">
            <a:off x="4938738" y="593526"/>
            <a:ext cx="1092200" cy="29670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50" name="58 CuadroTexto"/>
          <p:cNvSpPr txBox="1">
            <a:spLocks noChangeArrowheads="1"/>
          </p:cNvSpPr>
          <p:nvPr/>
        </p:nvSpPr>
        <p:spPr bwMode="auto">
          <a:xfrm>
            <a:off x="2102669" y="2502495"/>
            <a:ext cx="4921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sp>
        <p:nvSpPr>
          <p:cNvPr id="38951" name="133 CuadroTexto"/>
          <p:cNvSpPr txBox="1">
            <a:spLocks noChangeArrowheads="1"/>
          </p:cNvSpPr>
          <p:nvPr/>
        </p:nvSpPr>
        <p:spPr bwMode="auto">
          <a:xfrm>
            <a:off x="5309419" y="2510433"/>
            <a:ext cx="4937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grpSp>
        <p:nvGrpSpPr>
          <p:cNvPr id="38952" name="69 Grupo"/>
          <p:cNvGrpSpPr>
            <a:grpSpLocks/>
          </p:cNvGrpSpPr>
          <p:nvPr/>
        </p:nvGrpSpPr>
        <p:grpSpPr bwMode="auto">
          <a:xfrm>
            <a:off x="3434582" y="4709120"/>
            <a:ext cx="1204912" cy="1600200"/>
            <a:chOff x="363548" y="4782051"/>
            <a:chExt cx="1444353" cy="204371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8967" name="71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68" name="72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69" name="73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0" name="74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1" name="75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</p:grpSp>
      <p:sp>
        <p:nvSpPr>
          <p:cNvPr id="38953" name="76 CuadroTexto"/>
          <p:cNvSpPr txBox="1">
            <a:spLocks noChangeArrowheads="1"/>
          </p:cNvSpPr>
          <p:nvPr/>
        </p:nvSpPr>
        <p:spPr bwMode="auto">
          <a:xfrm>
            <a:off x="3428232" y="3094633"/>
            <a:ext cx="1179512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ASAMBLEA</a:t>
            </a:r>
          </a:p>
        </p:txBody>
      </p:sp>
      <p:sp>
        <p:nvSpPr>
          <p:cNvPr id="38954" name="77 CuadroTexto"/>
          <p:cNvSpPr txBox="1">
            <a:spLocks noChangeArrowheads="1"/>
          </p:cNvSpPr>
          <p:nvPr/>
        </p:nvSpPr>
        <p:spPr bwMode="auto">
          <a:xfrm>
            <a:off x="3428232" y="3412133"/>
            <a:ext cx="1179512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COMITÉ DIRECCIÓN</a:t>
            </a:r>
          </a:p>
        </p:txBody>
      </p:sp>
      <p:sp>
        <p:nvSpPr>
          <p:cNvPr id="79" name="78 CuadroTexto"/>
          <p:cNvSpPr txBox="1"/>
          <p:nvPr/>
        </p:nvSpPr>
        <p:spPr>
          <a:xfrm>
            <a:off x="3428232" y="2623145"/>
            <a:ext cx="1179512" cy="23018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</a:t>
            </a:r>
            <a:r>
              <a:rPr lang="es-CO" sz="900" dirty="0" smtClean="0"/>
              <a:t>N7</a:t>
            </a:r>
            <a:endParaRPr lang="es-CO" sz="900" dirty="0"/>
          </a:p>
        </p:txBody>
      </p:sp>
      <p:sp>
        <p:nvSpPr>
          <p:cNvPr id="38956" name="79 Rectángulo"/>
          <p:cNvSpPr>
            <a:spLocks noChangeArrowheads="1"/>
          </p:cNvSpPr>
          <p:nvPr/>
        </p:nvSpPr>
        <p:spPr bwMode="auto">
          <a:xfrm>
            <a:off x="3428232" y="3593108"/>
            <a:ext cx="1179512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38957" name="80 Rectángulo"/>
          <p:cNvSpPr>
            <a:spLocks noChangeArrowheads="1"/>
          </p:cNvSpPr>
          <p:nvPr/>
        </p:nvSpPr>
        <p:spPr bwMode="auto">
          <a:xfrm>
            <a:off x="3428232" y="3788370"/>
            <a:ext cx="1174750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82" name="81 Conector recto de flecha"/>
          <p:cNvCxnSpPr/>
          <p:nvPr/>
        </p:nvCxnSpPr>
        <p:spPr>
          <a:xfrm>
            <a:off x="4018782" y="2948583"/>
            <a:ext cx="0" cy="146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82 Conector angular"/>
          <p:cNvCxnSpPr/>
          <p:nvPr/>
        </p:nvCxnSpPr>
        <p:spPr>
          <a:xfrm rot="5400000">
            <a:off x="3961632" y="3354983"/>
            <a:ext cx="112712" cy="111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60" name="83 Rectángulo"/>
          <p:cNvSpPr>
            <a:spLocks noChangeArrowheads="1"/>
          </p:cNvSpPr>
          <p:nvPr/>
        </p:nvSpPr>
        <p:spPr bwMode="auto">
          <a:xfrm>
            <a:off x="3412357" y="4239220"/>
            <a:ext cx="1173162" cy="3698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85" name="84 Conector recto de flecha"/>
          <p:cNvCxnSpPr>
            <a:stCxn id="38957" idx="2"/>
            <a:endCxn id="38960" idx="0"/>
          </p:cNvCxnSpPr>
          <p:nvPr/>
        </p:nvCxnSpPr>
        <p:spPr>
          <a:xfrm flipH="1">
            <a:off x="3998144" y="4020145"/>
            <a:ext cx="17463" cy="2190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85 Conector angular"/>
          <p:cNvCxnSpPr>
            <a:stCxn id="38960" idx="2"/>
            <a:endCxn id="38967" idx="0"/>
          </p:cNvCxnSpPr>
          <p:nvPr/>
        </p:nvCxnSpPr>
        <p:spPr>
          <a:xfrm rot="5400000">
            <a:off x="3729857" y="4440833"/>
            <a:ext cx="100012" cy="4365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86 Conector angular"/>
          <p:cNvCxnSpPr>
            <a:stCxn id="38960" idx="2"/>
            <a:endCxn id="38971" idx="0"/>
          </p:cNvCxnSpPr>
          <p:nvPr/>
        </p:nvCxnSpPr>
        <p:spPr>
          <a:xfrm rot="16200000" flipH="1">
            <a:off x="4205313" y="4401939"/>
            <a:ext cx="100012" cy="514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87 Conector angular"/>
          <p:cNvCxnSpPr>
            <a:stCxn id="38960" idx="2"/>
            <a:endCxn id="38968" idx="0"/>
          </p:cNvCxnSpPr>
          <p:nvPr/>
        </p:nvCxnSpPr>
        <p:spPr>
          <a:xfrm rot="5400000">
            <a:off x="3848920" y="4559895"/>
            <a:ext cx="100012" cy="1984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88 Conector angular"/>
          <p:cNvCxnSpPr>
            <a:stCxn id="38960" idx="2"/>
            <a:endCxn id="38970" idx="0"/>
          </p:cNvCxnSpPr>
          <p:nvPr/>
        </p:nvCxnSpPr>
        <p:spPr>
          <a:xfrm rot="16200000" flipH="1">
            <a:off x="4086251" y="4521001"/>
            <a:ext cx="100012" cy="2762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89 Conector angular"/>
          <p:cNvCxnSpPr>
            <a:stCxn id="38960" idx="2"/>
            <a:endCxn id="38969" idx="0"/>
          </p:cNvCxnSpPr>
          <p:nvPr/>
        </p:nvCxnSpPr>
        <p:spPr>
          <a:xfrm rot="16200000" flipH="1">
            <a:off x="3967188" y="4640064"/>
            <a:ext cx="100012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1 Título"/>
          <p:cNvSpPr txBox="1">
            <a:spLocks/>
          </p:cNvSpPr>
          <p:nvPr/>
        </p:nvSpPr>
        <p:spPr>
          <a:xfrm>
            <a:off x="5684836" y="198438"/>
            <a:ext cx="3567113" cy="9271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REDES ÁREAS DE DESEMPEÑO</a:t>
            </a:r>
            <a:endParaRPr lang="es-ES" sz="2000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1" name="5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914" y="886112"/>
            <a:ext cx="1573659" cy="115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0833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/>
        </p:nvSpPr>
        <p:spPr>
          <a:xfrm>
            <a:off x="5612154" y="173093"/>
            <a:ext cx="3567113" cy="927100"/>
          </a:xfrm>
          <a:prstGeom prst="rect">
            <a:avLst/>
          </a:prstGeom>
        </p:spPr>
        <p:txBody>
          <a:bodyPr anchor="ctr">
            <a:normAutofit fontScale="85000" lnSpcReduction="2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err="1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Micrositio</a:t>
            </a:r>
            <a:r>
              <a:rPr lang="es-ES_tradnl" sz="200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PORTAL COLOMBIA APRENDE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hlinkClick r:id="rId2"/>
              </a:rPr>
              <a:t>www.colombiaaprende.edu.co /</a:t>
            </a:r>
            <a:r>
              <a:rPr lang="es-ES_tradnl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hlinkClick r:id="rId2"/>
              </a:rPr>
              <a:t>educacionparaeltrabajo</a:t>
            </a:r>
            <a:endParaRPr lang="es-ES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5316" y="5157192"/>
            <a:ext cx="2164706" cy="57606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2 Flecha derecha"/>
          <p:cNvSpPr/>
          <p:nvPr/>
        </p:nvSpPr>
        <p:spPr>
          <a:xfrm>
            <a:off x="5870921" y="1700808"/>
            <a:ext cx="573287" cy="432048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5314" y="3548084"/>
            <a:ext cx="2164708" cy="456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5315" y="4121791"/>
            <a:ext cx="2164707" cy="387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5314" y="4600657"/>
            <a:ext cx="2164708" cy="412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6795316" y="2995646"/>
            <a:ext cx="2164706" cy="433354"/>
          </a:xfrm>
          <a:prstGeom prst="rect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_tradnl" sz="1050" b="1" dirty="0" smtClean="0">
                <a:solidFill>
                  <a:srgbClr val="0070C0"/>
                </a:solidFill>
              </a:rPr>
              <a:t>BLOGS DE INSTITUCIONES </a:t>
            </a:r>
          </a:p>
          <a:p>
            <a:pPr algn="just"/>
            <a:r>
              <a:rPr lang="es-ES_tradnl" sz="1050" b="1" dirty="0" smtClean="0">
                <a:solidFill>
                  <a:srgbClr val="0070C0"/>
                </a:solidFill>
              </a:rPr>
              <a:t>DE EDUCACIÓN PARA EL TRABAJO </a:t>
            </a:r>
            <a:endParaRPr lang="es-ES" sz="1050" b="1" dirty="0">
              <a:solidFill>
                <a:srgbClr val="0070C0"/>
              </a:solidFill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27774" y="1435459"/>
            <a:ext cx="2164708" cy="337357"/>
          </a:xfrm>
          <a:prstGeom prst="rect">
            <a:avLst/>
          </a:prstGeom>
          <a:solidFill>
            <a:srgbClr val="92D050"/>
          </a:solidFill>
          <a:ln>
            <a:noFill/>
          </a:ln>
        </p:spPr>
      </p:pic>
      <p:sp>
        <p:nvSpPr>
          <p:cNvPr id="14" name="13 Rectángulo"/>
          <p:cNvSpPr/>
          <p:nvPr/>
        </p:nvSpPr>
        <p:spPr>
          <a:xfrm>
            <a:off x="6799782" y="2420888"/>
            <a:ext cx="2164706" cy="433354"/>
          </a:xfrm>
          <a:prstGeom prst="rect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 dirty="0" smtClean="0">
                <a:solidFill>
                  <a:srgbClr val="0070C0"/>
                </a:solidFill>
              </a:rPr>
              <a:t>Redes  virtuales Internacionales</a:t>
            </a:r>
            <a:endParaRPr lang="es-ES" sz="1600" b="1" dirty="0">
              <a:solidFill>
                <a:srgbClr val="0070C0"/>
              </a:solidFill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6799782" y="1844824"/>
            <a:ext cx="2164706" cy="433354"/>
          </a:xfrm>
          <a:prstGeom prst="rect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 dirty="0" smtClean="0">
                <a:solidFill>
                  <a:srgbClr val="0070C0"/>
                </a:solidFill>
              </a:rPr>
              <a:t>Redes  virtuales Nacionales</a:t>
            </a:r>
            <a:endParaRPr lang="es-ES" sz="1600" b="1" dirty="0">
              <a:solidFill>
                <a:srgbClr val="0070C0"/>
              </a:solidFill>
            </a:endParaRPr>
          </a:p>
        </p:txBody>
      </p:sp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15332" y="5682441"/>
            <a:ext cx="214469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2173" y="1096586"/>
            <a:ext cx="4853923" cy="521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15 Botón de acción: Comienzo">
            <a:hlinkClick r:id="rId10" action="ppaction://hlinksldjump" highlightClick="1"/>
          </p:cNvPr>
          <p:cNvSpPr/>
          <p:nvPr/>
        </p:nvSpPr>
        <p:spPr>
          <a:xfrm>
            <a:off x="8396356" y="6281936"/>
            <a:ext cx="882352" cy="576064"/>
          </a:xfrm>
          <a:prstGeom prst="actionButtonBeginning">
            <a:avLst/>
          </a:prstGeom>
          <a:solidFill>
            <a:srgbClr val="FF9900"/>
          </a:solidFill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93229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31068"/>
    </mc:Choice>
    <mc:Fallback>
      <p:transition spd="slow" advTm="31068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7235254" y="1773238"/>
            <a:ext cx="1873250" cy="1295400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ODELO DE GETION ETDH DEFINIDO</a:t>
            </a:r>
            <a:endParaRPr lang="es-CO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99592" y="1208833"/>
            <a:ext cx="7632848" cy="461665"/>
          </a:xfr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lvl="1">
              <a:defRPr/>
            </a:pPr>
            <a:r>
              <a:rPr lang="es-E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. Fortalecimiento </a:t>
            </a: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titucional</a:t>
            </a:r>
            <a:endParaRPr lang="es-ES" sz="2400" b="1" dirty="0">
              <a:solidFill>
                <a:srgbClr val="C00000"/>
              </a:solidFill>
              <a:ea typeface="+mn-ea"/>
              <a:cs typeface="+mn-cs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xmlns="" val="1166917992"/>
              </p:ext>
            </p:extLst>
          </p:nvPr>
        </p:nvGraphicFramePr>
        <p:xfrm>
          <a:off x="8750" y="1484784"/>
          <a:ext cx="744357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0485" name="2 Grupo"/>
          <p:cNvGrpSpPr>
            <a:grpSpLocks/>
          </p:cNvGrpSpPr>
          <p:nvPr/>
        </p:nvGrpSpPr>
        <p:grpSpPr bwMode="auto">
          <a:xfrm>
            <a:off x="6156325" y="1815904"/>
            <a:ext cx="647700" cy="1440061"/>
            <a:chOff x="6362984" y="1816163"/>
            <a:chExt cx="648072" cy="1440160"/>
          </a:xfrm>
          <a:solidFill>
            <a:srgbClr val="92D050"/>
          </a:solidFill>
        </p:grpSpPr>
        <p:sp>
          <p:nvSpPr>
            <p:cNvPr id="7" name="6 Elipse"/>
            <p:cNvSpPr/>
            <p:nvPr/>
          </p:nvSpPr>
          <p:spPr>
            <a:xfrm rot="16200000">
              <a:off x="5966940" y="2212207"/>
              <a:ext cx="1440160" cy="648072"/>
            </a:xfrm>
            <a:prstGeom prst="ellipse">
              <a:avLst/>
            </a:prstGeom>
            <a:grpFill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>
                <a:defRPr/>
              </a:pPr>
              <a:endParaRPr lang="es-CO" sz="12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489" name="7 CuadroTexto"/>
            <p:cNvSpPr txBox="1">
              <a:spLocks noChangeArrowheads="1"/>
            </p:cNvSpPr>
            <p:nvPr/>
          </p:nvSpPr>
          <p:spPr bwMode="auto">
            <a:xfrm rot="16200000">
              <a:off x="6209404" y="2247230"/>
              <a:ext cx="975014" cy="4838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ts val="1600"/>
                </a:lnSpc>
              </a:pPr>
              <a:r>
                <a:rPr lang="es-CO" sz="1100" b="1" dirty="0" smtClean="0">
                  <a:cs typeface="Arial" charset="0"/>
                </a:rPr>
                <a:t>Calidad y</a:t>
              </a:r>
            </a:p>
            <a:p>
              <a:pPr algn="ctr" eaLnBrk="1" hangingPunct="1">
                <a:lnSpc>
                  <a:spcPts val="1600"/>
                </a:lnSpc>
              </a:pPr>
              <a:r>
                <a:rPr lang="es-CO" sz="1100" b="1" dirty="0" smtClean="0">
                  <a:cs typeface="Arial" charset="0"/>
                </a:rPr>
                <a:t> pertinencia</a:t>
              </a:r>
              <a:endParaRPr lang="es-CO" sz="1100" b="1" dirty="0">
                <a:cs typeface="Arial" charset="0"/>
              </a:endParaRPr>
            </a:p>
          </p:txBody>
        </p:sp>
      </p:grpSp>
      <p:pic>
        <p:nvPicPr>
          <p:cNvPr id="3" name="2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40152" y="3573016"/>
            <a:ext cx="3312368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6638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39 Título"/>
          <p:cNvSpPr txBox="1">
            <a:spLocks/>
          </p:cNvSpPr>
          <p:nvPr/>
        </p:nvSpPr>
        <p:spPr bwMode="auto">
          <a:xfrm>
            <a:off x="611188" y="-31750"/>
            <a:ext cx="5494337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3000"/>
              </a:lnSpc>
            </a:pPr>
            <a:endParaRPr lang="es-ES" sz="3200" b="1">
              <a:solidFill>
                <a:srgbClr val="006666"/>
              </a:solidFill>
              <a:latin typeface="Calibri" pitchFamily="34" charset="0"/>
            </a:endParaRPr>
          </a:p>
        </p:txBody>
      </p:sp>
      <p:sp>
        <p:nvSpPr>
          <p:cNvPr id="18" name="17 Anillo"/>
          <p:cNvSpPr/>
          <p:nvPr/>
        </p:nvSpPr>
        <p:spPr>
          <a:xfrm>
            <a:off x="4644008" y="2780928"/>
            <a:ext cx="914400" cy="914400"/>
          </a:xfrm>
          <a:prstGeom prst="donut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19" name="18 Anillo"/>
          <p:cNvSpPr/>
          <p:nvPr/>
        </p:nvSpPr>
        <p:spPr>
          <a:xfrm>
            <a:off x="4283968" y="2348880"/>
            <a:ext cx="914400" cy="914400"/>
          </a:xfrm>
          <a:prstGeom prst="donut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20" name="19 Anillo"/>
          <p:cNvSpPr/>
          <p:nvPr/>
        </p:nvSpPr>
        <p:spPr>
          <a:xfrm>
            <a:off x="2987824" y="2348880"/>
            <a:ext cx="914400" cy="914400"/>
          </a:xfrm>
          <a:prstGeom prst="donut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25" name="24 Elipse"/>
          <p:cNvSpPr/>
          <p:nvPr/>
        </p:nvSpPr>
        <p:spPr>
          <a:xfrm>
            <a:off x="4535996" y="3140968"/>
            <a:ext cx="914400" cy="914400"/>
          </a:xfrm>
          <a:prstGeom prst="ellipse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29" name="28 Elipse"/>
          <p:cNvSpPr/>
          <p:nvPr/>
        </p:nvSpPr>
        <p:spPr>
          <a:xfrm>
            <a:off x="7020272" y="3070701"/>
            <a:ext cx="914400" cy="914400"/>
          </a:xfrm>
          <a:prstGeom prst="ellipse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xmlns="" val="300554143"/>
              </p:ext>
            </p:extLst>
          </p:nvPr>
        </p:nvGraphicFramePr>
        <p:xfrm>
          <a:off x="1187624" y="2060848"/>
          <a:ext cx="7560840" cy="3816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1691680" y="1455167"/>
            <a:ext cx="5040560" cy="40011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2000" dirty="0" smtClean="0"/>
              <a:t>MAPA DE PROCESOS UFTDH</a:t>
            </a:r>
            <a:endParaRPr lang="es-CO" sz="2000" dirty="0"/>
          </a:p>
        </p:txBody>
      </p:sp>
      <p:cxnSp>
        <p:nvCxnSpPr>
          <p:cNvPr id="12" name="11 Conector recto de flecha"/>
          <p:cNvCxnSpPr/>
          <p:nvPr/>
        </p:nvCxnSpPr>
        <p:spPr>
          <a:xfrm flipV="1">
            <a:off x="3995936" y="2330703"/>
            <a:ext cx="0" cy="199452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 de flecha"/>
          <p:cNvCxnSpPr/>
          <p:nvPr/>
        </p:nvCxnSpPr>
        <p:spPr>
          <a:xfrm flipH="1" flipV="1">
            <a:off x="2507688" y="2643887"/>
            <a:ext cx="1321296" cy="1368152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 de flecha"/>
          <p:cNvCxnSpPr/>
          <p:nvPr/>
        </p:nvCxnSpPr>
        <p:spPr>
          <a:xfrm flipH="1">
            <a:off x="2267744" y="4055368"/>
            <a:ext cx="1080120" cy="0"/>
          </a:xfrm>
          <a:prstGeom prst="straightConnector1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 de flecha"/>
          <p:cNvCxnSpPr/>
          <p:nvPr/>
        </p:nvCxnSpPr>
        <p:spPr>
          <a:xfrm flipH="1">
            <a:off x="1907704" y="4581128"/>
            <a:ext cx="1296144" cy="720080"/>
          </a:xfrm>
          <a:prstGeom prst="straightConnector1">
            <a:avLst/>
          </a:prstGeom>
          <a:ln w="1905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 de flecha"/>
          <p:cNvCxnSpPr/>
          <p:nvPr/>
        </p:nvCxnSpPr>
        <p:spPr>
          <a:xfrm>
            <a:off x="4377333" y="5422644"/>
            <a:ext cx="1728192" cy="0"/>
          </a:xfrm>
          <a:prstGeom prst="straightConnector1">
            <a:avLst/>
          </a:prstGeom>
          <a:ln w="19050">
            <a:solidFill>
              <a:srgbClr val="FF99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5 CuadroTexto"/>
          <p:cNvSpPr txBox="1"/>
          <p:nvPr/>
        </p:nvSpPr>
        <p:spPr>
          <a:xfrm>
            <a:off x="3059832" y="1857598"/>
            <a:ext cx="2396810" cy="92333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Gestionar investigaciones para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/>
              <a:t>f</a:t>
            </a:r>
            <a:r>
              <a:rPr lang="es-CO" sz="900" b="0" i="1" dirty="0" smtClean="0"/>
              <a:t>ormular la política de FTDH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Apoyar Investigaciones  del  SNF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Fomentar la innovación y la pertinencia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de la FTDH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Gestionar   la información  SIET</a:t>
            </a:r>
            <a:endParaRPr lang="es-CO" sz="900" dirty="0"/>
          </a:p>
        </p:txBody>
      </p:sp>
      <p:sp>
        <p:nvSpPr>
          <p:cNvPr id="36" name="35 CuadroTexto"/>
          <p:cNvSpPr txBox="1"/>
          <p:nvPr/>
        </p:nvSpPr>
        <p:spPr>
          <a:xfrm>
            <a:off x="6078124" y="5122783"/>
            <a:ext cx="2958371" cy="784830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Arial" pitchFamily="34" charset="0"/>
              <a:buChar char="•"/>
            </a:pPr>
            <a:r>
              <a:rPr lang="es-CO" sz="900" b="0" i="1" dirty="0" smtClean="0"/>
              <a:t>Apoyar SCAFT y  CCAFT, Secretaría Técnica</a:t>
            </a:r>
          </a:p>
          <a:p>
            <a:pPr marL="171450" indent="-171450" algn="just">
              <a:buFont typeface="Arial" pitchFamily="34" charset="0"/>
              <a:buChar char="•"/>
            </a:pPr>
            <a:r>
              <a:rPr lang="es-CO" sz="900" b="0" i="1" dirty="0" smtClean="0"/>
              <a:t>Apoyar creación y funcionamiento de REDES de FT</a:t>
            </a:r>
          </a:p>
          <a:p>
            <a:pPr marL="171450" indent="-171450" algn="just">
              <a:buFont typeface="Arial" pitchFamily="34" charset="0"/>
              <a:buChar char="•"/>
            </a:pPr>
            <a:r>
              <a:rPr lang="es-CO" sz="900" b="0" i="1" dirty="0" smtClean="0"/>
              <a:t>Promover Articulación  con EM, FTDH y ES</a:t>
            </a:r>
          </a:p>
          <a:p>
            <a:pPr marL="171450" indent="-171450" algn="just">
              <a:buFont typeface="Arial" pitchFamily="34" charset="0"/>
              <a:buChar char="•"/>
            </a:pPr>
            <a:r>
              <a:rPr lang="es-CO" sz="900" b="0" i="1" dirty="0" smtClean="0"/>
              <a:t>Participar CONPES 3674</a:t>
            </a:r>
            <a:endParaRPr lang="es-CO" sz="900" b="0" i="1" dirty="0"/>
          </a:p>
        </p:txBody>
      </p:sp>
      <p:sp>
        <p:nvSpPr>
          <p:cNvPr id="37" name="36 CuadroTexto"/>
          <p:cNvSpPr txBox="1"/>
          <p:nvPr/>
        </p:nvSpPr>
        <p:spPr>
          <a:xfrm>
            <a:off x="582559" y="2339588"/>
            <a:ext cx="2261249" cy="369332"/>
          </a:xfrm>
          <a:prstGeom prst="rect">
            <a:avLst/>
          </a:prstGeom>
          <a:noFill/>
          <a:ln w="28575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Formular y definir lineamientos , políticas y estrategias  de FTDH</a:t>
            </a:r>
            <a:endParaRPr lang="es-CO" sz="1000" b="0" i="1" dirty="0"/>
          </a:p>
        </p:txBody>
      </p:sp>
      <p:sp>
        <p:nvSpPr>
          <p:cNvPr id="38" name="37 CuadroTexto"/>
          <p:cNvSpPr txBox="1"/>
          <p:nvPr/>
        </p:nvSpPr>
        <p:spPr>
          <a:xfrm>
            <a:off x="251520" y="3356992"/>
            <a:ext cx="2448272" cy="1338828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Organizar , reglamentar   e implementar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SNAC de la FTDH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Apoyar el diseño e implementació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del  MNC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Apoyar  consolidación del SNF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Brindar  Asistencia Técnica a ET e IFTDH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Gestionar  Proyectos  relacionados  con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/>
              <a:t>l</a:t>
            </a:r>
            <a:r>
              <a:rPr lang="es-CO" sz="900" b="0" i="1" dirty="0" smtClean="0"/>
              <a:t>a FTDH</a:t>
            </a:r>
            <a:endParaRPr lang="es-CO" sz="900" b="0" i="1" dirty="0"/>
          </a:p>
        </p:txBody>
      </p:sp>
      <p:sp>
        <p:nvSpPr>
          <p:cNvPr id="39" name="38 CuadroTexto"/>
          <p:cNvSpPr txBox="1"/>
          <p:nvPr/>
        </p:nvSpPr>
        <p:spPr>
          <a:xfrm>
            <a:off x="179512" y="5323274"/>
            <a:ext cx="3223959" cy="784830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txBody>
          <a:bodyPr wrap="non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Apoyar a ET  en  el ejercicio de  Inspección y Vigilancia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de  la  FTDH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Evaluar políticas y proyectos de FTDH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Contribuir al SIG del ME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s-CO" sz="900" b="0" i="1" dirty="0" smtClean="0"/>
              <a:t>Velar  por el adecuado funcionamiento del SIET </a:t>
            </a:r>
            <a:endParaRPr lang="es-CO" sz="900" b="0" i="1" dirty="0"/>
          </a:p>
        </p:txBody>
      </p:sp>
      <p:sp>
        <p:nvSpPr>
          <p:cNvPr id="22" name="21 Rectángulo redondeado"/>
          <p:cNvSpPr/>
          <p:nvPr/>
        </p:nvSpPr>
        <p:spPr>
          <a:xfrm>
            <a:off x="4860030" y="606157"/>
            <a:ext cx="3672410" cy="37457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s-CO" sz="1600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 Rounded MT Bold" pitchFamily="34" charset="0"/>
              </a:rPr>
              <a:t>Desarrollo institucional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636568" y="1104999"/>
            <a:ext cx="7967879" cy="307777"/>
          </a:xfrm>
          <a:prstGeom prst="rect">
            <a:avLst/>
          </a:prstGeom>
          <a:solidFill>
            <a:srgbClr val="FFFF99"/>
          </a:solidFill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lvl="0"/>
            <a:r>
              <a:rPr lang="es-ES" sz="1400" dirty="0" smtClean="0">
                <a:solidFill>
                  <a:srgbClr val="000099"/>
                </a:solidFill>
              </a:rPr>
              <a:t>VI. Fortalecimiento Institucional</a:t>
            </a:r>
            <a:endParaRPr lang="es-ES" sz="1400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284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755576" y="1340768"/>
            <a:ext cx="7272808" cy="40011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CO" sz="2000" dirty="0">
                <a:solidFill>
                  <a:schemeClr val="bg1"/>
                </a:solidFill>
              </a:rPr>
              <a:t>CARACTERIZACIÓN  POBLACIÓN </a:t>
            </a:r>
            <a:r>
              <a:rPr lang="es-CO" sz="2000" dirty="0" smtClean="0">
                <a:solidFill>
                  <a:schemeClr val="bg1"/>
                </a:solidFill>
              </a:rPr>
              <a:t>ENTRE 15 </a:t>
            </a:r>
            <a:r>
              <a:rPr lang="es-CO" sz="2000" dirty="0">
                <a:solidFill>
                  <a:schemeClr val="bg1"/>
                </a:solidFill>
              </a:rPr>
              <a:t>Y 24 AÑOS</a:t>
            </a: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xmlns="" val="3520021180"/>
              </p:ext>
            </p:extLst>
          </p:nvPr>
        </p:nvGraphicFramePr>
        <p:xfrm>
          <a:off x="611560" y="1844824"/>
          <a:ext cx="7814310" cy="42882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755576" y="6290156"/>
            <a:ext cx="4563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dirty="0" smtClean="0">
                <a:solidFill>
                  <a:schemeClr val="bg1"/>
                </a:solidFill>
              </a:rPr>
              <a:t>FUENTE: Informe MEN (SIET, SNIES) SENA, DANE</a:t>
            </a:r>
            <a:endParaRPr lang="es-CO" sz="1400" dirty="0">
              <a:solidFill>
                <a:schemeClr val="bg1"/>
              </a:solidFill>
            </a:endParaRPr>
          </a:p>
        </p:txBody>
      </p:sp>
      <p:sp>
        <p:nvSpPr>
          <p:cNvPr id="4" name="3 Proceso alternativo"/>
          <p:cNvSpPr/>
          <p:nvPr/>
        </p:nvSpPr>
        <p:spPr>
          <a:xfrm>
            <a:off x="4217780" y="1779112"/>
            <a:ext cx="2010404" cy="1361856"/>
          </a:xfrm>
          <a:prstGeom prst="flowChartAlternateProcess">
            <a:avLst/>
          </a:prstGeom>
          <a:noFill/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5" name="4 Rectángulo redondeado"/>
          <p:cNvSpPr/>
          <p:nvPr/>
        </p:nvSpPr>
        <p:spPr>
          <a:xfrm>
            <a:off x="6458326" y="2204864"/>
            <a:ext cx="1426042" cy="561856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s-CO" sz="900" cap="all" dirty="0" smtClean="0">
                <a:ln w="0"/>
                <a:effectLst>
                  <a:reflection blurRad="12700" stA="50000" endPos="50000" dist="5000" dir="5400000" sy="-100000" rotWithShape="0"/>
                </a:effectLst>
                <a:latin typeface="+mj-lt"/>
              </a:rPr>
              <a:t>Están ESTUDIANDO SECUNDARIA </a:t>
            </a:r>
          </a:p>
          <a:p>
            <a:pPr algn="ctr"/>
            <a:r>
              <a:rPr lang="es-CO" sz="900" cap="all" dirty="0" smtClean="0">
                <a:ln w="0"/>
                <a:effectLst>
                  <a:reflection blurRad="12700" stA="50000" endPos="50000" dist="5000" dir="5400000" sy="-100000" rotWithShape="0"/>
                </a:effectLst>
                <a:latin typeface="+mj-lt"/>
              </a:rPr>
              <a:t>2,334.000 (61,3%)</a:t>
            </a:r>
          </a:p>
        </p:txBody>
      </p:sp>
      <p:sp>
        <p:nvSpPr>
          <p:cNvPr id="9" name="8 Rectángulo redondeado"/>
          <p:cNvSpPr/>
          <p:nvPr/>
        </p:nvSpPr>
        <p:spPr>
          <a:xfrm>
            <a:off x="6501463" y="3361983"/>
            <a:ext cx="1339767" cy="715089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s-CO" sz="900" cap="all" dirty="0" smtClean="0">
                <a:ln w="0"/>
                <a:effectLst>
                  <a:reflection blurRad="12700" stA="50000" endPos="50000" dist="5000" dir="5400000" sy="-100000" rotWithShape="0"/>
                </a:effectLst>
                <a:latin typeface="+mj-lt"/>
              </a:rPr>
              <a:t>NO Han  TERMINADO </a:t>
            </a:r>
          </a:p>
          <a:p>
            <a:pPr algn="ctr"/>
            <a:r>
              <a:rPr lang="es-CO" sz="900" cap="all" dirty="0" smtClean="0">
                <a:ln w="0"/>
                <a:effectLst>
                  <a:reflection blurRad="12700" stA="50000" endPos="50000" dist="5000" dir="5400000" sy="-100000" rotWithShape="0"/>
                </a:effectLst>
                <a:latin typeface="+mj-lt"/>
              </a:rPr>
              <a:t>SECUNDARIA Y NO </a:t>
            </a:r>
          </a:p>
          <a:p>
            <a:pPr algn="ctr"/>
            <a:r>
              <a:rPr lang="es-CO" sz="900" cap="all" dirty="0" smtClean="0">
                <a:ln w="0"/>
                <a:effectLst>
                  <a:reflection blurRad="12700" stA="50000" endPos="50000" dist="5000" dir="5400000" sy="-100000" rotWithShape="0"/>
                </a:effectLst>
                <a:latin typeface="+mj-lt"/>
              </a:rPr>
              <a:t>Están  ESTUDIANDO</a:t>
            </a:r>
          </a:p>
          <a:p>
            <a:pPr algn="ctr"/>
            <a:r>
              <a:rPr lang="es-CO" sz="900" cap="all" dirty="0" smtClean="0">
                <a:ln w="0"/>
                <a:effectLst>
                  <a:reflection blurRad="12700" stA="50000" endPos="50000" dist="5000" dir="5400000" sy="-100000" rotWithShape="0"/>
                </a:effectLst>
                <a:latin typeface="+mj-lt"/>
              </a:rPr>
              <a:t>1.475.000 (38,7%)</a:t>
            </a:r>
          </a:p>
        </p:txBody>
      </p:sp>
      <p:cxnSp>
        <p:nvCxnSpPr>
          <p:cNvPr id="11" name="10 Conector recto"/>
          <p:cNvCxnSpPr/>
          <p:nvPr/>
        </p:nvCxnSpPr>
        <p:spPr>
          <a:xfrm flipV="1">
            <a:off x="6084168" y="2564904"/>
            <a:ext cx="0" cy="288032"/>
          </a:xfrm>
          <a:prstGeom prst="line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1 Conector recto"/>
          <p:cNvCxnSpPr/>
          <p:nvPr/>
        </p:nvCxnSpPr>
        <p:spPr>
          <a:xfrm flipV="1">
            <a:off x="6084168" y="3429000"/>
            <a:ext cx="0" cy="288032"/>
          </a:xfrm>
          <a:prstGeom prst="line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 flipH="1">
            <a:off x="6084168" y="3717032"/>
            <a:ext cx="432048" cy="0"/>
          </a:xfrm>
          <a:prstGeom prst="line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 flipH="1">
            <a:off x="6084168" y="2564904"/>
            <a:ext cx="374158" cy="0"/>
          </a:xfrm>
          <a:prstGeom prst="line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193" t="54632" r="33816" b="17533"/>
          <a:stretch/>
        </p:blipFill>
        <p:spPr bwMode="auto">
          <a:xfrm>
            <a:off x="124360" y="1433558"/>
            <a:ext cx="7904024" cy="494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7 Elipse"/>
          <p:cNvSpPr/>
          <p:nvPr/>
        </p:nvSpPr>
        <p:spPr>
          <a:xfrm>
            <a:off x="21974" y="2597356"/>
            <a:ext cx="2376264" cy="1951320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9601797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33037"/>
    </mc:Choice>
    <mc:Fallback>
      <p:transition spd="slow" advTm="330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73641"/>
            <a:ext cx="8229600" cy="4203631"/>
          </a:xfrm>
        </p:spPr>
        <p:txBody>
          <a:bodyPr/>
          <a:lstStyle/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Consolidación</a:t>
            </a:r>
            <a:r>
              <a:rPr lang="es-ES" sz="2400" dirty="0" smtClean="0"/>
              <a:t> </a:t>
            </a:r>
            <a:r>
              <a:rPr lang="es-ES" sz="2400" dirty="0"/>
              <a:t>de la propuesta conceptual y metodológica del </a:t>
            </a:r>
            <a:r>
              <a:rPr lang="es-ES" sz="2400" b="1" dirty="0">
                <a:solidFill>
                  <a:srgbClr val="FF0000"/>
                </a:solidFill>
              </a:rPr>
              <a:t>Modelo de Aseguramiento de la </a:t>
            </a:r>
            <a:r>
              <a:rPr lang="es-ES" sz="2400" b="1" dirty="0" smtClean="0">
                <a:solidFill>
                  <a:srgbClr val="FF0000"/>
                </a:solidFill>
              </a:rPr>
              <a:t>Calidad.</a:t>
            </a:r>
          </a:p>
          <a:p>
            <a:pPr lvl="0" algn="just"/>
            <a:r>
              <a:rPr lang="es-ES" sz="2400" dirty="0" smtClean="0"/>
              <a:t>Realización </a:t>
            </a:r>
            <a:r>
              <a:rPr lang="es-ES" sz="2400" dirty="0"/>
              <a:t>de </a:t>
            </a:r>
            <a:r>
              <a:rPr lang="es-ES" sz="2400" b="1" dirty="0">
                <a:solidFill>
                  <a:srgbClr val="FF0000"/>
                </a:solidFill>
              </a:rPr>
              <a:t>talleres de socialización </a:t>
            </a:r>
            <a:r>
              <a:rPr lang="es-ES" sz="2400" dirty="0"/>
              <a:t>y retroalimentación del </a:t>
            </a:r>
            <a:r>
              <a:rPr lang="es-ES" sz="2400" b="1" dirty="0">
                <a:solidFill>
                  <a:srgbClr val="FF0000"/>
                </a:solidFill>
              </a:rPr>
              <a:t>Modelo de Aseguramiento de la Calidad</a:t>
            </a:r>
            <a:r>
              <a:rPr lang="es-ES" sz="2400" dirty="0">
                <a:solidFill>
                  <a:srgbClr val="FF0000"/>
                </a:solidFill>
              </a:rPr>
              <a:t> </a:t>
            </a:r>
            <a:r>
              <a:rPr lang="es-ES" sz="2400" dirty="0"/>
              <a:t>con Entidades Territoriales Certificadas e </a:t>
            </a:r>
            <a:r>
              <a:rPr lang="es-ES" sz="2400" dirty="0" smtClean="0"/>
              <a:t>Instituciones.</a:t>
            </a:r>
          </a:p>
          <a:p>
            <a:pPr algn="just"/>
            <a:r>
              <a:rPr lang="es-ES" sz="2400" b="1" dirty="0" smtClean="0">
                <a:solidFill>
                  <a:srgbClr val="FF0000"/>
                </a:solidFill>
              </a:rPr>
              <a:t>Participación</a:t>
            </a:r>
            <a:r>
              <a:rPr lang="es-ES" sz="2400" dirty="0" smtClean="0"/>
              <a:t> </a:t>
            </a:r>
            <a:r>
              <a:rPr lang="es-ES" sz="2400" dirty="0"/>
              <a:t>en el procesos de </a:t>
            </a:r>
            <a:r>
              <a:rPr lang="es-ES" sz="2400" b="1" dirty="0">
                <a:solidFill>
                  <a:srgbClr val="FF0000"/>
                </a:solidFill>
              </a:rPr>
              <a:t>integración de los Modelos de Aseguramiento</a:t>
            </a:r>
            <a:r>
              <a:rPr lang="es-ES" sz="2400" b="1" dirty="0"/>
              <a:t> </a:t>
            </a:r>
            <a:r>
              <a:rPr lang="es-ES" sz="2400" dirty="0"/>
              <a:t>de la Calidad del Sistema Educativo Colombiano</a:t>
            </a:r>
            <a:endParaRPr lang="es-CO" sz="2400" dirty="0"/>
          </a:p>
          <a:p>
            <a:pPr marL="0" lvl="0" indent="0" algn="just">
              <a:buNone/>
            </a:pPr>
            <a:r>
              <a:rPr lang="es-ES" sz="2400" dirty="0" smtClean="0"/>
              <a:t> </a:t>
            </a:r>
            <a:endParaRPr lang="es-CO" sz="24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884594" y="476672"/>
            <a:ext cx="2986715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3200" dirty="0">
                <a:solidFill>
                  <a:schemeClr val="bg1"/>
                </a:solidFill>
              </a:rPr>
              <a:t>LOGROS </a:t>
            </a:r>
            <a:r>
              <a:rPr lang="es-CO" sz="3200" dirty="0" smtClean="0">
                <a:solidFill>
                  <a:schemeClr val="bg1"/>
                </a:solidFill>
              </a:rPr>
              <a:t>2013</a:t>
            </a:r>
            <a:endParaRPr lang="es-C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5494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73641"/>
            <a:ext cx="8075240" cy="4203631"/>
          </a:xfrm>
        </p:spPr>
        <p:txBody>
          <a:bodyPr/>
          <a:lstStyle/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Análisis</a:t>
            </a:r>
            <a:r>
              <a:rPr lang="es-ES" sz="2400" dirty="0" smtClean="0"/>
              <a:t> </a:t>
            </a:r>
            <a:r>
              <a:rPr lang="es-ES" sz="2400" dirty="0"/>
              <a:t>de la </a:t>
            </a:r>
            <a:r>
              <a:rPr lang="es-ES" sz="2400" b="1" dirty="0">
                <a:solidFill>
                  <a:srgbClr val="FF0000"/>
                </a:solidFill>
              </a:rPr>
              <a:t>normatividad vigente </a:t>
            </a:r>
            <a:r>
              <a:rPr lang="es-ES" sz="2400" dirty="0"/>
              <a:t>de esta oferta educativa y </a:t>
            </a:r>
            <a:r>
              <a:rPr lang="es-ES" sz="2400" b="1" dirty="0" smtClean="0">
                <a:solidFill>
                  <a:srgbClr val="FF0000"/>
                </a:solidFill>
              </a:rPr>
              <a:t>propuesta de ajustes para </a:t>
            </a:r>
            <a:r>
              <a:rPr lang="es-ES" sz="2400" b="1" dirty="0">
                <a:solidFill>
                  <a:srgbClr val="FF0000"/>
                </a:solidFill>
              </a:rPr>
              <a:t>un NUEVO  marco </a:t>
            </a:r>
            <a:r>
              <a:rPr lang="es-ES" sz="2400" b="1" dirty="0" smtClean="0">
                <a:solidFill>
                  <a:srgbClr val="FF0000"/>
                </a:solidFill>
              </a:rPr>
              <a:t>regulatorio.</a:t>
            </a:r>
            <a:endParaRPr lang="es-CO" sz="2400" b="1" dirty="0">
              <a:solidFill>
                <a:srgbClr val="FF0000"/>
              </a:solidFill>
            </a:endParaRPr>
          </a:p>
          <a:p>
            <a:pPr algn="just"/>
            <a:r>
              <a:rPr lang="es-ES" sz="2400" dirty="0"/>
              <a:t>Participación </a:t>
            </a:r>
            <a:r>
              <a:rPr lang="es-ES" sz="2400" dirty="0" smtClean="0"/>
              <a:t>en </a:t>
            </a:r>
            <a:r>
              <a:rPr lang="es-ES" sz="2400" dirty="0"/>
              <a:t>el proyecto de </a:t>
            </a:r>
            <a:r>
              <a:rPr lang="es-ES" sz="2400" b="1" dirty="0">
                <a:solidFill>
                  <a:srgbClr val="FF0000"/>
                </a:solidFill>
              </a:rPr>
              <a:t>Modernización de la Educación Media y Tránsito a la </a:t>
            </a:r>
            <a:r>
              <a:rPr lang="es-ES" sz="2400" b="1" dirty="0" smtClean="0">
                <a:solidFill>
                  <a:srgbClr val="FF0000"/>
                </a:solidFill>
              </a:rPr>
              <a:t>Educación Terciaria.</a:t>
            </a:r>
          </a:p>
          <a:p>
            <a:pPr algn="just"/>
            <a:r>
              <a:rPr lang="es-ES" sz="2400" b="1" dirty="0" smtClean="0">
                <a:solidFill>
                  <a:srgbClr val="FF0000"/>
                </a:solidFill>
              </a:rPr>
              <a:t>Creación </a:t>
            </a:r>
            <a:r>
              <a:rPr lang="es-ES" sz="2400" b="1" dirty="0">
                <a:solidFill>
                  <a:srgbClr val="FF0000"/>
                </a:solidFill>
              </a:rPr>
              <a:t>del </a:t>
            </a:r>
            <a:r>
              <a:rPr lang="es-ES" sz="2400" b="1" dirty="0" err="1">
                <a:solidFill>
                  <a:srgbClr val="FF0000"/>
                </a:solidFill>
              </a:rPr>
              <a:t>Micrositio</a:t>
            </a:r>
            <a:r>
              <a:rPr lang="es-ES" sz="2400" dirty="0"/>
              <a:t>  de Educación para el Trabajo en el portal Colombia </a:t>
            </a:r>
            <a:r>
              <a:rPr lang="es-ES" sz="2400" dirty="0" smtClean="0"/>
              <a:t>Aprende.</a:t>
            </a:r>
            <a:endParaRPr lang="es-CO" sz="2400" dirty="0"/>
          </a:p>
          <a:p>
            <a:pPr algn="just"/>
            <a:r>
              <a:rPr lang="es-ES" sz="2400" dirty="0"/>
              <a:t>Acompañamiento a 50 entidades territoriales certificadas para el </a:t>
            </a:r>
            <a:r>
              <a:rPr lang="es-ES" sz="2400" b="1" dirty="0">
                <a:solidFill>
                  <a:srgbClr val="FF0000"/>
                </a:solidFill>
              </a:rPr>
              <a:t>fortalecimiento de la gestión con las Instituciones de Educación para el Trabajo</a:t>
            </a:r>
            <a:endParaRPr lang="es-CO" sz="2400" b="1" dirty="0">
              <a:solidFill>
                <a:srgbClr val="FF0000"/>
              </a:solidFill>
            </a:endParaRPr>
          </a:p>
          <a:p>
            <a:pPr marL="0" lvl="0" indent="0" algn="just">
              <a:buNone/>
            </a:pPr>
            <a:endParaRPr lang="es-CO" sz="24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884594" y="476672"/>
            <a:ext cx="2986715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3200" dirty="0">
                <a:solidFill>
                  <a:schemeClr val="bg1"/>
                </a:solidFill>
              </a:rPr>
              <a:t>LOGROS </a:t>
            </a:r>
            <a:r>
              <a:rPr lang="es-CO" sz="3200" dirty="0" smtClean="0">
                <a:solidFill>
                  <a:schemeClr val="bg1"/>
                </a:solidFill>
              </a:rPr>
              <a:t>2013</a:t>
            </a:r>
            <a:endParaRPr lang="es-C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945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5112568"/>
          </a:xfrm>
        </p:spPr>
        <p:txBody>
          <a:bodyPr/>
          <a:lstStyle/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Acompañamiento </a:t>
            </a:r>
            <a:r>
              <a:rPr lang="es-ES" sz="2400" b="1" dirty="0">
                <a:solidFill>
                  <a:srgbClr val="FF0000"/>
                </a:solidFill>
              </a:rPr>
              <a:t>a 60 Instituciones de Educación para el Trabajo</a:t>
            </a:r>
            <a:r>
              <a:rPr lang="es-ES" sz="2400" dirty="0"/>
              <a:t> en el proceso de implementación del </a:t>
            </a:r>
            <a:r>
              <a:rPr lang="es-ES" sz="2400" b="1" dirty="0">
                <a:solidFill>
                  <a:srgbClr val="FF0000"/>
                </a:solidFill>
              </a:rPr>
              <a:t>Sistema de Gestión de Calidad </a:t>
            </a:r>
            <a:r>
              <a:rPr lang="es-ES" sz="2400" dirty="0"/>
              <a:t>de la Formación para el Trabajo</a:t>
            </a:r>
            <a:endParaRPr lang="es-CO" sz="2400" dirty="0"/>
          </a:p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Talleres Regionales con Secretarías de Educación Certificadas </a:t>
            </a:r>
            <a:r>
              <a:rPr lang="es-ES" sz="2400" dirty="0" smtClean="0"/>
              <a:t>e Instituciones de Educación para el Trabajo en: i) diseño curricular , ii) evaluación y verificación de las condiciones básicas para el funcionamiento de los programas, y iii) capacitación y asesoría en el registro de la información en el SIET</a:t>
            </a:r>
            <a:endParaRPr lang="es-CO" sz="2400" dirty="0" smtClean="0"/>
          </a:p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Desarrollo</a:t>
            </a:r>
            <a:r>
              <a:rPr lang="es-ES" sz="2400" dirty="0" smtClean="0"/>
              <a:t> </a:t>
            </a:r>
            <a:r>
              <a:rPr lang="es-ES" sz="2400" dirty="0"/>
              <a:t>de la fase de </a:t>
            </a:r>
            <a:r>
              <a:rPr lang="es-ES" sz="2400" b="1" dirty="0">
                <a:solidFill>
                  <a:srgbClr val="FF0000"/>
                </a:solidFill>
              </a:rPr>
              <a:t>diseño</a:t>
            </a:r>
            <a:r>
              <a:rPr lang="es-ES" sz="2400" dirty="0"/>
              <a:t> del Sistema de </a:t>
            </a:r>
            <a:r>
              <a:rPr lang="es-ES" sz="2400" dirty="0" smtClean="0"/>
              <a:t>aseguramiento </a:t>
            </a:r>
            <a:r>
              <a:rPr lang="es-ES" sz="2400" dirty="0"/>
              <a:t>de Educación para el Trabajo </a:t>
            </a:r>
            <a:r>
              <a:rPr lang="es-ES" sz="2800" dirty="0" smtClean="0"/>
              <a:t>- </a:t>
            </a:r>
            <a:r>
              <a:rPr lang="es-ES" sz="2800" b="1" dirty="0" smtClean="0">
                <a:solidFill>
                  <a:srgbClr val="FF0000"/>
                </a:solidFill>
              </a:rPr>
              <a:t>SACET</a:t>
            </a:r>
            <a:r>
              <a:rPr lang="es-ES" sz="2800" dirty="0" smtClean="0"/>
              <a:t>  </a:t>
            </a:r>
            <a:endParaRPr lang="es-CO" sz="2800" dirty="0" smtClean="0"/>
          </a:p>
          <a:p>
            <a:pPr marL="0" indent="0" algn="just">
              <a:buNone/>
            </a:pPr>
            <a:endParaRPr lang="es-CO" sz="28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884594" y="476672"/>
            <a:ext cx="2986715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3200" dirty="0">
                <a:solidFill>
                  <a:schemeClr val="bg1"/>
                </a:solidFill>
              </a:rPr>
              <a:t>LOGROS </a:t>
            </a:r>
            <a:r>
              <a:rPr lang="es-CO" sz="3200" dirty="0" smtClean="0">
                <a:solidFill>
                  <a:schemeClr val="bg1"/>
                </a:solidFill>
              </a:rPr>
              <a:t>2013</a:t>
            </a:r>
            <a:endParaRPr lang="es-C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933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652120" y="405036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SPECTIVA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xmlns="" val="526721101"/>
              </p:ext>
            </p:extLst>
          </p:nvPr>
        </p:nvGraphicFramePr>
        <p:xfrm>
          <a:off x="899592" y="1397000"/>
          <a:ext cx="7488832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936803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39 Título"/>
          <p:cNvSpPr txBox="1">
            <a:spLocks/>
          </p:cNvSpPr>
          <p:nvPr/>
        </p:nvSpPr>
        <p:spPr bwMode="auto">
          <a:xfrm>
            <a:off x="611188" y="-31750"/>
            <a:ext cx="5494337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3000"/>
              </a:lnSpc>
            </a:pPr>
            <a:endParaRPr lang="es-ES" sz="3200" b="1">
              <a:solidFill>
                <a:srgbClr val="006666"/>
              </a:solidFill>
              <a:latin typeface="Calibri" pitchFamily="34" charset="0"/>
            </a:endParaRPr>
          </a:p>
        </p:txBody>
      </p:sp>
      <p:sp>
        <p:nvSpPr>
          <p:cNvPr id="6" name="Rectangle 2"/>
          <p:cNvSpPr txBox="1">
            <a:spLocks noRot="1" noChangeArrowheads="1"/>
          </p:cNvSpPr>
          <p:nvPr/>
        </p:nvSpPr>
        <p:spPr bwMode="auto">
          <a:xfrm>
            <a:off x="571472" y="1556792"/>
            <a:ext cx="7888960" cy="446449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es-CO" sz="4400" dirty="0" smtClean="0"/>
          </a:p>
          <a:p>
            <a:pPr algn="ctr">
              <a:buFont typeface="Wingdings" pitchFamily="2" charset="2"/>
              <a:buNone/>
            </a:pPr>
            <a:endParaRPr lang="es-CO" sz="4400" dirty="0" smtClean="0"/>
          </a:p>
          <a:p>
            <a:pPr algn="ctr">
              <a:buFont typeface="Wingdings" pitchFamily="2" charset="2"/>
              <a:buNone/>
            </a:pPr>
            <a:r>
              <a:rPr lang="es-CO" sz="4400" b="1" dirty="0" smtClean="0">
                <a:latin typeface="Lucida Calligraphy" pitchFamily="66" charset="0"/>
              </a:rPr>
              <a:t>“Si no intentas grandes cosas, no las lograrás”.</a:t>
            </a:r>
          </a:p>
          <a:p>
            <a:pPr algn="ctr">
              <a:buFont typeface="Wingdings" pitchFamily="2" charset="2"/>
              <a:buNone/>
            </a:pPr>
            <a:endParaRPr lang="es-CO" sz="1900" dirty="0" smtClean="0"/>
          </a:p>
          <a:p>
            <a:pPr algn="r">
              <a:buFont typeface="Wingdings" pitchFamily="2" charset="2"/>
              <a:buNone/>
            </a:pPr>
            <a:endParaRPr lang="es-ES" sz="2400" b="1" dirty="0" smtClean="0">
              <a:latin typeface="Lucida Calligraphy" pitchFamily="66" charset="0"/>
            </a:endParaRPr>
          </a:p>
        </p:txBody>
      </p:sp>
      <p:pic>
        <p:nvPicPr>
          <p:cNvPr id="4" name="Picture 5" descr="MCj0428065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3685" y="925339"/>
            <a:ext cx="2098675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95658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2915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5780" y="4230990"/>
            <a:ext cx="6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endParaRPr lang="es-ES">
              <a:solidFill>
                <a:srgbClr val="00B0F0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1259632" y="1700808"/>
            <a:ext cx="6912768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es-CO" sz="2000" dirty="0" smtClean="0"/>
          </a:p>
          <a:p>
            <a:pPr marL="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CO" sz="2000" dirty="0" smtClean="0">
                <a:solidFill>
                  <a:srgbClr val="C00000"/>
                </a:solidFill>
              </a:rPr>
              <a:t>Apoyo </a:t>
            </a:r>
            <a:r>
              <a:rPr lang="es-CO" sz="2000" dirty="0" smtClean="0"/>
              <a:t>por parte del gobierno </a:t>
            </a:r>
            <a:r>
              <a:rPr lang="es-CO" sz="2000" dirty="0" smtClean="0">
                <a:solidFill>
                  <a:srgbClr val="C00000"/>
                </a:solidFill>
              </a:rPr>
              <a:t>a </a:t>
            </a:r>
            <a:r>
              <a:rPr lang="es-CO" sz="2000" dirty="0">
                <a:solidFill>
                  <a:srgbClr val="C00000"/>
                </a:solidFill>
              </a:rPr>
              <a:t>la educación para el trabajo</a:t>
            </a:r>
            <a:r>
              <a:rPr lang="es-CO" sz="2000" dirty="0"/>
              <a:t> y entrenamiento en sus fases iniciales</a:t>
            </a:r>
            <a:r>
              <a:rPr lang="es-CO" sz="2000" dirty="0" smtClean="0"/>
              <a:t>.</a:t>
            </a:r>
          </a:p>
          <a:p>
            <a:pPr marL="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CO" sz="2000" dirty="0" smtClean="0"/>
              <a:t>Establecimiento </a:t>
            </a:r>
            <a:r>
              <a:rPr lang="es-CO" sz="2000" dirty="0"/>
              <a:t>de una </a:t>
            </a:r>
            <a:r>
              <a:rPr lang="es-CO" sz="2000" dirty="0">
                <a:solidFill>
                  <a:srgbClr val="C00000"/>
                </a:solidFill>
              </a:rPr>
              <a:t>cultura de diálogo </a:t>
            </a:r>
            <a:r>
              <a:rPr lang="es-CO" sz="2000" dirty="0" smtClean="0"/>
              <a:t>entre  las diferentes instituciones </a:t>
            </a:r>
            <a:r>
              <a:rPr lang="es-CO" sz="2000" dirty="0"/>
              <a:t>de </a:t>
            </a:r>
            <a:r>
              <a:rPr lang="es-CO" sz="2000" dirty="0" smtClean="0"/>
              <a:t>un país para definir </a:t>
            </a:r>
            <a:r>
              <a:rPr lang="es-CO" sz="2000" dirty="0" smtClean="0">
                <a:solidFill>
                  <a:schemeClr val="accent2"/>
                </a:solidFill>
              </a:rPr>
              <a:t>oferta</a:t>
            </a:r>
            <a:r>
              <a:rPr lang="es-CO" sz="2000" dirty="0" smtClean="0"/>
              <a:t>  </a:t>
            </a:r>
            <a:r>
              <a:rPr lang="es-CO" sz="2000" dirty="0" smtClean="0">
                <a:solidFill>
                  <a:schemeClr val="accent2"/>
                </a:solidFill>
              </a:rPr>
              <a:t>de formación pertinente a </a:t>
            </a:r>
            <a:r>
              <a:rPr lang="es-CO" sz="2000" dirty="0">
                <a:solidFill>
                  <a:schemeClr val="accent2"/>
                </a:solidFill>
              </a:rPr>
              <a:t>las necesidades del mercado</a:t>
            </a:r>
            <a:r>
              <a:rPr lang="es-CO" sz="2000" dirty="0" smtClean="0">
                <a:solidFill>
                  <a:schemeClr val="accent2"/>
                </a:solidFill>
              </a:rPr>
              <a:t>.</a:t>
            </a:r>
          </a:p>
          <a:p>
            <a:pPr marL="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CO" sz="2000" dirty="0" smtClean="0"/>
              <a:t>El aseguramiento de la calidad se basa en : los </a:t>
            </a:r>
            <a:r>
              <a:rPr lang="es-CO" sz="2000" dirty="0" smtClean="0">
                <a:solidFill>
                  <a:schemeClr val="accent2"/>
                </a:solidFill>
              </a:rPr>
              <a:t>programas</a:t>
            </a:r>
            <a:r>
              <a:rPr lang="es-CO" sz="2000" dirty="0" smtClean="0"/>
              <a:t>, los </a:t>
            </a:r>
            <a:r>
              <a:rPr lang="es-CO" sz="2000" dirty="0" smtClean="0">
                <a:solidFill>
                  <a:schemeClr val="accent2"/>
                </a:solidFill>
              </a:rPr>
              <a:t>docente</a:t>
            </a:r>
            <a:r>
              <a:rPr lang="es-CO" sz="2000" dirty="0" smtClean="0"/>
              <a:t>, el </a:t>
            </a:r>
            <a:r>
              <a:rPr lang="es-CO" sz="2000" dirty="0" smtClean="0">
                <a:solidFill>
                  <a:srgbClr val="C00000"/>
                </a:solidFill>
              </a:rPr>
              <a:t>empleo</a:t>
            </a:r>
            <a:r>
              <a:rPr lang="es-CO" sz="2000" dirty="0" smtClean="0"/>
              <a:t>  y los </a:t>
            </a:r>
            <a:r>
              <a:rPr lang="es-CO" sz="2000" dirty="0" smtClean="0">
                <a:solidFill>
                  <a:srgbClr val="C00000"/>
                </a:solidFill>
              </a:rPr>
              <a:t>ambientes de aprendizaje</a:t>
            </a:r>
            <a:r>
              <a:rPr lang="es-CO" sz="2000" dirty="0" smtClean="0"/>
              <a:t>.   </a:t>
            </a:r>
            <a:endParaRPr lang="es-CO" sz="2000" dirty="0"/>
          </a:p>
        </p:txBody>
      </p:sp>
      <p:sp>
        <p:nvSpPr>
          <p:cNvPr id="15" name="21 Rectángulo redondeado"/>
          <p:cNvSpPr>
            <a:spLocks noChangeArrowheads="1"/>
          </p:cNvSpPr>
          <p:nvPr/>
        </p:nvSpPr>
        <p:spPr bwMode="auto">
          <a:xfrm>
            <a:off x="647328" y="1844824"/>
            <a:ext cx="7885112" cy="439248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3" name="2 Rectángulo"/>
          <p:cNvSpPr/>
          <p:nvPr/>
        </p:nvSpPr>
        <p:spPr>
          <a:xfrm>
            <a:off x="647328" y="1198493"/>
            <a:ext cx="7885112" cy="64633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CO" sz="1800" dirty="0">
                <a:solidFill>
                  <a:schemeClr val="bg1"/>
                </a:solidFill>
              </a:rPr>
              <a:t>PRINCIPALES POLÍTICAS  Y RECOMENDACIONES DE </a:t>
            </a:r>
            <a:r>
              <a:rPr lang="es-CO" sz="1800" dirty="0" smtClean="0">
                <a:solidFill>
                  <a:schemeClr val="bg1"/>
                </a:solidFill>
              </a:rPr>
              <a:t>ORGANISMOS INTERNACIONALES OECD</a:t>
            </a:r>
            <a:r>
              <a:rPr lang="es-CO" sz="1800" dirty="0">
                <a:solidFill>
                  <a:schemeClr val="bg1"/>
                </a:solidFill>
              </a:rPr>
              <a:t>,  OIT y  </a:t>
            </a:r>
            <a:r>
              <a:rPr lang="es-CO" sz="1800" dirty="0" smtClean="0">
                <a:solidFill>
                  <a:schemeClr val="bg1"/>
                </a:solidFill>
              </a:rPr>
              <a:t>CINTERFOR</a:t>
            </a:r>
            <a:endParaRPr lang="es-CO" sz="1800" dirty="0">
              <a:solidFill>
                <a:schemeClr val="bg1"/>
              </a:solidFill>
            </a:endParaRPr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49395" y="187820"/>
            <a:ext cx="1440160" cy="866715"/>
          </a:xfrm>
          <a:prstGeom prst="rect">
            <a:avLst/>
          </a:prstGeom>
        </p:spPr>
      </p:pic>
      <p:pic>
        <p:nvPicPr>
          <p:cNvPr id="7" name="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0685" y="144773"/>
            <a:ext cx="1783494" cy="952810"/>
          </a:xfrm>
          <a:prstGeom prst="rect">
            <a:avLst/>
          </a:prstGeom>
        </p:spPr>
      </p:pic>
      <p:pic>
        <p:nvPicPr>
          <p:cNvPr id="8" name="7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-1" y="3281630"/>
            <a:ext cx="1259632" cy="133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163357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5780" y="4230990"/>
            <a:ext cx="6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endParaRPr lang="es-ES">
              <a:solidFill>
                <a:srgbClr val="00B0F0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251520" y="1974314"/>
            <a:ext cx="8280920" cy="4632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s-CO" sz="2000" dirty="0" smtClean="0"/>
              <a:t>Aprovechamiento </a:t>
            </a:r>
            <a:r>
              <a:rPr lang="es-CO" sz="2000" dirty="0"/>
              <a:t>de las </a:t>
            </a:r>
            <a:r>
              <a:rPr lang="es-CO" sz="2000" dirty="0">
                <a:solidFill>
                  <a:srgbClr val="C00000"/>
                </a:solidFill>
              </a:rPr>
              <a:t>ventajas </a:t>
            </a:r>
            <a:r>
              <a:rPr lang="es-CO" sz="2000" dirty="0"/>
              <a:t>de la educación en los lugares de </a:t>
            </a:r>
            <a:r>
              <a:rPr lang="es-CO" sz="2000" dirty="0" smtClean="0"/>
              <a:t>trabajo.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s-CO" sz="2000" dirty="0" smtClean="0"/>
              <a:t>Apoyo financiero a </a:t>
            </a:r>
            <a:r>
              <a:rPr lang="es-CO" sz="2000" dirty="0" smtClean="0">
                <a:solidFill>
                  <a:srgbClr val="C00000"/>
                </a:solidFill>
              </a:rPr>
              <a:t>estudiantes</a:t>
            </a:r>
            <a:r>
              <a:rPr lang="es-CO" sz="2000" dirty="0" smtClean="0"/>
              <a:t> en condiciones de vulnerabilidad, subsidio estatal.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s-CO" sz="2000" dirty="0" smtClean="0"/>
              <a:t>Replantear el carácter técnico de la ET abordando  la importancia de </a:t>
            </a:r>
            <a:r>
              <a:rPr lang="es-CO" sz="2000" dirty="0" smtClean="0">
                <a:solidFill>
                  <a:srgbClr val="C00000"/>
                </a:solidFill>
              </a:rPr>
              <a:t>nuevas competencias </a:t>
            </a:r>
            <a:r>
              <a:rPr lang="es-CO" sz="2000" dirty="0" smtClean="0"/>
              <a:t>de carácter General.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s-CO" sz="2000" dirty="0" smtClean="0"/>
              <a:t>Altamente valoradas en </a:t>
            </a:r>
            <a:r>
              <a:rPr lang="es-CO" sz="2000" dirty="0" smtClean="0">
                <a:solidFill>
                  <a:srgbClr val="C00000"/>
                </a:solidFill>
              </a:rPr>
              <a:t>ambientes laborales </a:t>
            </a:r>
            <a:r>
              <a:rPr lang="es-CO" sz="2000" dirty="0" smtClean="0"/>
              <a:t>contemporáneos como: </a:t>
            </a:r>
            <a:r>
              <a:rPr lang="es-CO" sz="2000" dirty="0" smtClean="0">
                <a:solidFill>
                  <a:srgbClr val="C00000"/>
                </a:solidFill>
              </a:rPr>
              <a:t>habilidad para pensar lógicamente, anticipar dificultades, ser innovador y creativo, desarrollar habilidades de comunicación, resolución de problemas y trabajo en equipo. </a:t>
            </a:r>
            <a:endParaRPr lang="es-CO" sz="2000" dirty="0">
              <a:solidFill>
                <a:srgbClr val="C00000"/>
              </a:solidFill>
            </a:endParaRPr>
          </a:p>
          <a:p>
            <a:pPr algn="just"/>
            <a:endParaRPr lang="es-CO" sz="2000" dirty="0" smtClean="0"/>
          </a:p>
          <a:p>
            <a:pPr algn="just"/>
            <a:endParaRPr lang="es-CO" sz="2000" dirty="0"/>
          </a:p>
        </p:txBody>
      </p:sp>
      <p:sp>
        <p:nvSpPr>
          <p:cNvPr id="15" name="21 Rectángulo redondeado"/>
          <p:cNvSpPr>
            <a:spLocks noChangeArrowheads="1"/>
          </p:cNvSpPr>
          <p:nvPr/>
        </p:nvSpPr>
        <p:spPr bwMode="auto">
          <a:xfrm>
            <a:off x="647328" y="1844824"/>
            <a:ext cx="7885112" cy="439248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8" name="7 Rectángulo"/>
          <p:cNvSpPr/>
          <p:nvPr/>
        </p:nvSpPr>
        <p:spPr>
          <a:xfrm>
            <a:off x="647328" y="1228690"/>
            <a:ext cx="7885112" cy="64633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CO" sz="1800" dirty="0">
                <a:solidFill>
                  <a:schemeClr val="bg1"/>
                </a:solidFill>
              </a:rPr>
              <a:t>PRINCIPALES POLÍTICAS  Y RECOMENDACIONES DE </a:t>
            </a:r>
            <a:r>
              <a:rPr lang="es-CO" sz="1800" dirty="0" smtClean="0">
                <a:solidFill>
                  <a:schemeClr val="bg1"/>
                </a:solidFill>
              </a:rPr>
              <a:t>ORGANISMOS INTERNACIONALES OECD</a:t>
            </a:r>
            <a:r>
              <a:rPr lang="es-CO" sz="1800" dirty="0">
                <a:solidFill>
                  <a:schemeClr val="bg1"/>
                </a:solidFill>
              </a:rPr>
              <a:t>,  OIT y  </a:t>
            </a:r>
            <a:r>
              <a:rPr lang="es-CO" sz="1800" dirty="0" smtClean="0">
                <a:solidFill>
                  <a:schemeClr val="bg1"/>
                </a:solidFill>
              </a:rPr>
              <a:t>CINTERFOR</a:t>
            </a:r>
            <a:endParaRPr lang="es-CO" sz="1800" dirty="0">
              <a:solidFill>
                <a:schemeClr val="bg1"/>
              </a:solidFill>
            </a:endParaRPr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49395" y="187820"/>
            <a:ext cx="1440160" cy="866715"/>
          </a:xfrm>
          <a:prstGeom prst="rect">
            <a:avLst/>
          </a:prstGeom>
        </p:spPr>
      </p:pic>
      <p:pic>
        <p:nvPicPr>
          <p:cNvPr id="7" name="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0685" y="144773"/>
            <a:ext cx="1783494" cy="952810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7164288" y="5623382"/>
            <a:ext cx="1800200" cy="1117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547571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89163" y="1196752"/>
            <a:ext cx="5119687" cy="575394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>
              <a:defRPr/>
            </a:pPr>
            <a:r>
              <a:rPr lang="en-GB" sz="3200" dirty="0">
                <a:solidFill>
                  <a:schemeClr val="bg2"/>
                </a:solidFill>
                <a:latin typeface="+mj-lt"/>
              </a:rPr>
              <a:t>NUEVO CONTEXTO DEL </a:t>
            </a:r>
            <a:r>
              <a:rPr lang="en-GB" sz="3200" dirty="0" smtClean="0">
                <a:solidFill>
                  <a:schemeClr val="bg2"/>
                </a:solidFill>
                <a:latin typeface="+mj-lt"/>
              </a:rPr>
              <a:t>PAÍS</a:t>
            </a:r>
            <a:endParaRPr lang="en-GB" sz="32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7" name="6 CuadroTexto"/>
          <p:cNvSpPr txBox="1"/>
          <p:nvPr/>
        </p:nvSpPr>
        <p:spPr>
          <a:xfrm rot="10800000">
            <a:off x="407571" y="1755773"/>
            <a:ext cx="677108" cy="426551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  <a:prstDash val="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vert" wrap="square">
            <a:spAutoFit/>
          </a:bodyPr>
          <a:lstStyle/>
          <a:p>
            <a:pPr algn="ctr">
              <a:defRPr/>
            </a:pPr>
            <a:r>
              <a:rPr lang="es-CO" sz="1600" dirty="0">
                <a:solidFill>
                  <a:schemeClr val="bg1"/>
                </a:solidFill>
                <a:latin typeface="Arial" charset="0"/>
              </a:rPr>
              <a:t>FACTORES QUE INFLUYEN EN </a:t>
            </a:r>
          </a:p>
          <a:p>
            <a:pPr algn="ctr">
              <a:defRPr/>
            </a:pPr>
            <a:r>
              <a:rPr lang="es-CO" sz="1600" dirty="0" smtClean="0">
                <a:solidFill>
                  <a:schemeClr val="bg1"/>
                </a:solidFill>
                <a:latin typeface="Arial" charset="0"/>
              </a:rPr>
              <a:t>EDUCACIÓN POST SECUNDARIA</a:t>
            </a:r>
            <a:endParaRPr lang="es-CO" sz="16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3318" name="1 CuadroTexto"/>
          <p:cNvSpPr txBox="1">
            <a:spLocks noChangeArrowheads="1"/>
          </p:cNvSpPr>
          <p:nvPr/>
        </p:nvSpPr>
        <p:spPr bwMode="auto">
          <a:xfrm>
            <a:off x="1126157" y="1885041"/>
            <a:ext cx="3960440" cy="430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es-CO" sz="1600" dirty="0"/>
              <a:t>Documentos </a:t>
            </a:r>
            <a:r>
              <a:rPr lang="es-CO" sz="1600" dirty="0" smtClean="0"/>
              <a:t>CONPES</a:t>
            </a:r>
          </a:p>
          <a:p>
            <a:pPr algn="just"/>
            <a:endParaRPr lang="es-CO" sz="1600" dirty="0"/>
          </a:p>
          <a:p>
            <a:pPr marL="342900" lvl="1" indent="-342900" algn="just">
              <a:buFont typeface="Wingdings" pitchFamily="2" charset="2"/>
              <a:buChar char="§"/>
            </a:pPr>
            <a:r>
              <a:rPr lang="es-CO" sz="1600" dirty="0" smtClean="0"/>
              <a:t>81: Consolidación del Sistema de Formación  para el Trabajo, del 2004</a:t>
            </a:r>
          </a:p>
          <a:p>
            <a:pPr marL="342900" indent="-342900" algn="just">
              <a:buFont typeface="Wingdings" pitchFamily="2" charset="2"/>
              <a:buChar char="§"/>
            </a:pPr>
            <a:endParaRPr lang="es-CO" sz="1600" dirty="0" smtClean="0"/>
          </a:p>
          <a:p>
            <a:pPr marL="342900" indent="-342900" algn="just">
              <a:buFont typeface="Wingdings" pitchFamily="2" charset="2"/>
              <a:buChar char="§"/>
            </a:pPr>
            <a:r>
              <a:rPr lang="es-CO" sz="1600" dirty="0" smtClean="0"/>
              <a:t>3527:Política Nacional </a:t>
            </a:r>
            <a:r>
              <a:rPr lang="es-CO" sz="1600" dirty="0"/>
              <a:t>de </a:t>
            </a:r>
            <a:r>
              <a:rPr lang="es-CO" sz="1600" dirty="0" smtClean="0"/>
              <a:t>Competitividad, del 2008.</a:t>
            </a: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r>
              <a:rPr lang="es-CO" sz="1600" dirty="0"/>
              <a:t>3582: Política </a:t>
            </a:r>
            <a:r>
              <a:rPr lang="es-CO" sz="1600" dirty="0" smtClean="0"/>
              <a:t>Nacional </a:t>
            </a:r>
            <a:r>
              <a:rPr lang="es-CO" sz="1600" dirty="0"/>
              <a:t>de </a:t>
            </a:r>
            <a:r>
              <a:rPr lang="es-CO" sz="1600" dirty="0" smtClean="0"/>
              <a:t>Ciencia</a:t>
            </a:r>
            <a:r>
              <a:rPr lang="es-CO" sz="1600" dirty="0"/>
              <a:t>, </a:t>
            </a:r>
            <a:r>
              <a:rPr lang="es-CO" sz="1600" dirty="0" smtClean="0"/>
              <a:t>Tecnología </a:t>
            </a:r>
            <a:r>
              <a:rPr lang="es-CO" sz="1600" dirty="0"/>
              <a:t>e </a:t>
            </a:r>
            <a:r>
              <a:rPr lang="es-CO" sz="1600" dirty="0" smtClean="0"/>
              <a:t>Innovación, del 2009.</a:t>
            </a: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r>
              <a:rPr lang="es-CO" sz="1600" dirty="0"/>
              <a:t>3674: Lineamientos de política para el </a:t>
            </a:r>
            <a:r>
              <a:rPr lang="es-CO" sz="1600" dirty="0" smtClean="0"/>
              <a:t>Fortalecimiento </a:t>
            </a:r>
            <a:r>
              <a:rPr lang="es-CO" sz="1600" dirty="0"/>
              <a:t>del </a:t>
            </a:r>
            <a:r>
              <a:rPr lang="es-CO" sz="1600" dirty="0" smtClean="0"/>
              <a:t>Sistema </a:t>
            </a:r>
            <a:r>
              <a:rPr lang="es-CO" sz="1600" dirty="0"/>
              <a:t>de </a:t>
            </a:r>
            <a:r>
              <a:rPr lang="es-CO" sz="1600" dirty="0" smtClean="0"/>
              <a:t>Formación </a:t>
            </a:r>
            <a:r>
              <a:rPr lang="es-CO" sz="1600" dirty="0"/>
              <a:t>de </a:t>
            </a:r>
            <a:r>
              <a:rPr lang="es-CO" sz="1600" dirty="0" smtClean="0"/>
              <a:t>Capital Humano SFCH, del 2010.</a:t>
            </a:r>
            <a:endParaRPr lang="es-CO" sz="1600" dirty="0"/>
          </a:p>
          <a:p>
            <a:pPr marL="800100" lvl="1" indent="-342900" algn="just">
              <a:buFont typeface="Wingdings" pitchFamily="2" charset="2"/>
              <a:buChar char="§"/>
            </a:pPr>
            <a:endParaRPr lang="es-CO" sz="1800" dirty="0"/>
          </a:p>
        </p:txBody>
      </p:sp>
      <p:grpSp>
        <p:nvGrpSpPr>
          <p:cNvPr id="5" name="2 Grupo"/>
          <p:cNvGrpSpPr>
            <a:grpSpLocks/>
          </p:cNvGrpSpPr>
          <p:nvPr/>
        </p:nvGrpSpPr>
        <p:grpSpPr bwMode="auto">
          <a:xfrm>
            <a:off x="5508131" y="2395522"/>
            <a:ext cx="3600373" cy="506357"/>
            <a:chOff x="0" y="0"/>
            <a:chExt cx="7858180" cy="1005847"/>
          </a:xfrm>
          <a:solidFill>
            <a:schemeClr val="accent2">
              <a:lumMod val="75000"/>
            </a:schemeClr>
          </a:solidFill>
        </p:grpSpPr>
        <p:sp>
          <p:nvSpPr>
            <p:cNvPr id="6" name="5 Rectángulo redondeado"/>
            <p:cNvSpPr/>
            <p:nvPr/>
          </p:nvSpPr>
          <p:spPr>
            <a:xfrm>
              <a:off x="0" y="0"/>
              <a:ext cx="7858180" cy="1005847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7 Rectángulo"/>
            <p:cNvSpPr/>
            <p:nvPr/>
          </p:nvSpPr>
          <p:spPr>
            <a:xfrm>
              <a:off x="1522906" y="120093"/>
              <a:ext cx="6335274" cy="88575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CO" sz="2000" b="1" dirty="0" smtClean="0">
                  <a:solidFill>
                    <a:srgbClr val="FFFFCC"/>
                  </a:solidFill>
                </a:rPr>
                <a:t>   Pertinencia</a:t>
              </a:r>
              <a:endParaRPr lang="es-CO" sz="1800" dirty="0">
                <a:solidFill>
                  <a:srgbClr val="FFFFCC"/>
                </a:solidFill>
              </a:endParaRPr>
            </a:p>
          </p:txBody>
        </p:sp>
      </p:grpSp>
      <p:grpSp>
        <p:nvGrpSpPr>
          <p:cNvPr id="9" name="3 Grupo"/>
          <p:cNvGrpSpPr>
            <a:grpSpLocks/>
          </p:cNvGrpSpPr>
          <p:nvPr/>
        </p:nvGrpSpPr>
        <p:grpSpPr bwMode="auto">
          <a:xfrm>
            <a:off x="5508132" y="3080615"/>
            <a:ext cx="3600372" cy="510099"/>
            <a:chOff x="0" y="974329"/>
            <a:chExt cx="7858179" cy="885754"/>
          </a:xfrm>
          <a:solidFill>
            <a:srgbClr val="996633"/>
          </a:solidFill>
        </p:grpSpPr>
        <p:sp>
          <p:nvSpPr>
            <p:cNvPr id="10" name="9 Rectángulo redondeado"/>
            <p:cNvSpPr/>
            <p:nvPr/>
          </p:nvSpPr>
          <p:spPr>
            <a:xfrm>
              <a:off x="0" y="974329"/>
              <a:ext cx="7858179" cy="88575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2812566"/>
                <a:satOff val="-4220"/>
                <a:lumOff val="-686"/>
                <a:alphaOff val="0"/>
              </a:schemeClr>
            </a:fillRef>
            <a:effectRef idx="3">
              <a:schemeClr val="accent3">
                <a:hueOff val="2812566"/>
                <a:satOff val="-4220"/>
                <a:lumOff val="-68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1522906" y="974329"/>
              <a:ext cx="6335273" cy="88575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spcAft>
                  <a:spcPct val="35000"/>
                </a:spcAft>
                <a:defRPr/>
              </a:pPr>
              <a:r>
                <a:rPr lang="es-CO" sz="2000" b="1" dirty="0" smtClean="0">
                  <a:solidFill>
                    <a:srgbClr val="FFFFCC"/>
                  </a:solidFill>
                </a:rPr>
                <a:t>   Calidad</a:t>
              </a:r>
              <a:endParaRPr lang="es-CO" sz="1800" dirty="0">
                <a:solidFill>
                  <a:srgbClr val="FFFFCC"/>
                </a:solidFill>
              </a:endParaRPr>
            </a:p>
          </p:txBody>
        </p:sp>
      </p:grpSp>
      <p:grpSp>
        <p:nvGrpSpPr>
          <p:cNvPr id="12" name="4 Grupo"/>
          <p:cNvGrpSpPr>
            <a:grpSpLocks/>
          </p:cNvGrpSpPr>
          <p:nvPr/>
        </p:nvGrpSpPr>
        <p:grpSpPr bwMode="auto">
          <a:xfrm>
            <a:off x="5508132" y="3799828"/>
            <a:ext cx="3600372" cy="501849"/>
            <a:chOff x="0" y="1920988"/>
            <a:chExt cx="7858179" cy="885754"/>
          </a:xfrm>
          <a:solidFill>
            <a:schemeClr val="bg2">
              <a:lumMod val="75000"/>
            </a:schemeClr>
          </a:solidFill>
        </p:grpSpPr>
        <p:sp>
          <p:nvSpPr>
            <p:cNvPr id="13" name="12 Rectángulo redondeado"/>
            <p:cNvSpPr/>
            <p:nvPr/>
          </p:nvSpPr>
          <p:spPr>
            <a:xfrm>
              <a:off x="0" y="1920988"/>
              <a:ext cx="7858179" cy="88575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5625132"/>
                <a:satOff val="-8440"/>
                <a:lumOff val="-1373"/>
                <a:alphaOff val="0"/>
              </a:schemeClr>
            </a:fillRef>
            <a:effectRef idx="3">
              <a:schemeClr val="accent3">
                <a:hueOff val="5625132"/>
                <a:satOff val="-8440"/>
                <a:lumOff val="-137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1596931" y="1920988"/>
              <a:ext cx="6198413" cy="63559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2000" b="1" dirty="0" smtClean="0">
                  <a:solidFill>
                    <a:schemeClr val="tx1"/>
                  </a:solidFill>
                </a:rPr>
                <a:t>   Bilingüismo</a:t>
              </a:r>
              <a:endParaRPr lang="es-CO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5 Grupo"/>
          <p:cNvGrpSpPr>
            <a:grpSpLocks/>
          </p:cNvGrpSpPr>
          <p:nvPr/>
        </p:nvGrpSpPr>
        <p:grpSpPr bwMode="auto">
          <a:xfrm>
            <a:off x="5508131" y="4480463"/>
            <a:ext cx="3600373" cy="509335"/>
            <a:chOff x="0" y="2922989"/>
            <a:chExt cx="7858179" cy="885754"/>
          </a:xfrm>
          <a:solidFill>
            <a:schemeClr val="bg2">
              <a:lumMod val="90000"/>
            </a:schemeClr>
          </a:solidFill>
        </p:grpSpPr>
        <p:sp>
          <p:nvSpPr>
            <p:cNvPr id="16" name="15 Rectángulo redondeado"/>
            <p:cNvSpPr/>
            <p:nvPr/>
          </p:nvSpPr>
          <p:spPr>
            <a:xfrm>
              <a:off x="0" y="2922989"/>
              <a:ext cx="7858179" cy="88575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8437698"/>
                <a:satOff val="-12660"/>
                <a:lumOff val="-2059"/>
                <a:alphaOff val="0"/>
              </a:schemeClr>
            </a:fillRef>
            <a:effectRef idx="3">
              <a:schemeClr val="accent3">
                <a:hueOff val="8437698"/>
                <a:satOff val="-12660"/>
                <a:lumOff val="-205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1596932" y="2922989"/>
              <a:ext cx="6198414" cy="88575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CO" sz="2000" b="1" dirty="0" smtClean="0">
                  <a:solidFill>
                    <a:schemeClr val="tx1"/>
                  </a:solidFill>
                </a:rPr>
                <a:t>   Apuestas Regionales</a:t>
              </a:r>
              <a:endParaRPr lang="es-CO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18" name="17 Rectángulo redondeado"/>
          <p:cNvSpPr/>
          <p:nvPr/>
        </p:nvSpPr>
        <p:spPr>
          <a:xfrm>
            <a:off x="5508104" y="5199183"/>
            <a:ext cx="3600400" cy="462065"/>
          </a:xfrm>
          <a:prstGeom prst="roundRect">
            <a:avLst>
              <a:gd name="adj" fmla="val 10000"/>
            </a:avLst>
          </a:prstGeom>
          <a:solidFill>
            <a:srgbClr val="E7D287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3">
              <a:hueOff val="11250264"/>
              <a:satOff val="-16880"/>
              <a:lumOff val="-2745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18 Rectángulo"/>
          <p:cNvSpPr/>
          <p:nvPr/>
        </p:nvSpPr>
        <p:spPr>
          <a:xfrm>
            <a:off x="5599434" y="5211120"/>
            <a:ext cx="4013126" cy="41924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/>
          <a:lstStyle/>
          <a:p>
            <a:pPr algn="just" defTabSz="800100">
              <a:lnSpc>
                <a:spcPct val="90000"/>
              </a:lnSpc>
              <a:spcAft>
                <a:spcPct val="35000"/>
              </a:spcAft>
              <a:defRPr/>
            </a:pPr>
            <a:r>
              <a:rPr lang="es-CO" sz="2000" b="1" dirty="0" smtClean="0">
                <a:solidFill>
                  <a:schemeClr val="tx1"/>
                </a:solidFill>
              </a:rPr>
              <a:t>              Acceso </a:t>
            </a:r>
            <a:r>
              <a:rPr lang="es-CO" sz="2000" b="1" dirty="0">
                <a:solidFill>
                  <a:schemeClr val="tx1"/>
                </a:solidFill>
              </a:rPr>
              <a:t>a la </a:t>
            </a:r>
            <a:r>
              <a:rPr lang="es-CO" sz="2000" b="1" dirty="0" smtClean="0">
                <a:solidFill>
                  <a:schemeClr val="tx1"/>
                </a:solidFill>
              </a:rPr>
              <a:t>educación</a:t>
            </a:r>
            <a:endParaRPr lang="es-CO" sz="1800" dirty="0">
              <a:solidFill>
                <a:schemeClr val="tx1"/>
              </a:solidFill>
            </a:endParaRPr>
          </a:p>
        </p:txBody>
      </p:sp>
      <p:sp>
        <p:nvSpPr>
          <p:cNvPr id="20" name="19 Rectángulo redondeado"/>
          <p:cNvSpPr/>
          <p:nvPr/>
        </p:nvSpPr>
        <p:spPr>
          <a:xfrm>
            <a:off x="5628965" y="3830725"/>
            <a:ext cx="721220" cy="379598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20 Rectángulo redondeado"/>
          <p:cNvSpPr/>
          <p:nvPr/>
        </p:nvSpPr>
        <p:spPr>
          <a:xfrm>
            <a:off x="5628965" y="3154984"/>
            <a:ext cx="721220" cy="402517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2688049"/>
              <a:satOff val="-3527"/>
              <a:lumOff val="-34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21 Rectángulo redondeado"/>
          <p:cNvSpPr/>
          <p:nvPr/>
        </p:nvSpPr>
        <p:spPr>
          <a:xfrm>
            <a:off x="5641340" y="4531688"/>
            <a:ext cx="721220" cy="406885"/>
          </a:xfrm>
          <a:prstGeom prst="roundRect">
            <a:avLst>
              <a:gd name="adj" fmla="val 10000"/>
            </a:avLst>
          </a:prstGeom>
          <a:blipFill rotWithShape="0">
            <a:blip r:embed="rId5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5376097"/>
              <a:satOff val="-7054"/>
              <a:lumOff val="-694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22 Rectángulo redondeado"/>
          <p:cNvSpPr/>
          <p:nvPr/>
        </p:nvSpPr>
        <p:spPr>
          <a:xfrm>
            <a:off x="5580112" y="2485798"/>
            <a:ext cx="721220" cy="369505"/>
          </a:xfrm>
          <a:prstGeom prst="roundRect">
            <a:avLst>
              <a:gd name="adj" fmla="val 10000"/>
            </a:avLst>
          </a:prstGeom>
          <a:blipFill rotWithShape="0">
            <a:blip r:embed="rId6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8064146"/>
              <a:satOff val="-10581"/>
              <a:lumOff val="-10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4" name="23 Rectángulo redondeado"/>
          <p:cNvSpPr/>
          <p:nvPr/>
        </p:nvSpPr>
        <p:spPr>
          <a:xfrm>
            <a:off x="5650981" y="5242259"/>
            <a:ext cx="721221" cy="305152"/>
          </a:xfrm>
          <a:prstGeom prst="roundRect">
            <a:avLst>
              <a:gd name="adj" fmla="val 10000"/>
            </a:avLst>
          </a:prstGeom>
          <a:blipFill rotWithShape="0">
            <a:blip r:embed="rId7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10752195"/>
              <a:satOff val="-14108"/>
              <a:lumOff val="-138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xmlns="" val="901254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457200" y="764704"/>
            <a:ext cx="8229600" cy="11430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s-ES" sz="32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ÍTICA EDUCATIVA 2010 - 2014</a:t>
            </a:r>
            <a:endParaRPr lang="es-ES" sz="32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95731627"/>
              </p:ext>
            </p:extLst>
          </p:nvPr>
        </p:nvGraphicFramePr>
        <p:xfrm>
          <a:off x="683568" y="2205583"/>
          <a:ext cx="7319156" cy="3815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1 Rectángulo"/>
          <p:cNvSpPr/>
          <p:nvPr/>
        </p:nvSpPr>
        <p:spPr>
          <a:xfrm>
            <a:off x="5081698" y="3212976"/>
            <a:ext cx="2514638" cy="73866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es-CO" sz="1400" dirty="0"/>
              <a:t>Consolidación del </a:t>
            </a:r>
            <a:r>
              <a:rPr lang="es-CO" sz="1400" dirty="0" smtClean="0"/>
              <a:t>Sistema</a:t>
            </a:r>
          </a:p>
          <a:p>
            <a:pPr lvl="0" algn="ctr"/>
            <a:r>
              <a:rPr lang="es-CO" sz="1400" dirty="0" smtClean="0"/>
              <a:t> </a:t>
            </a:r>
            <a:r>
              <a:rPr lang="es-CO" sz="1400" dirty="0"/>
              <a:t>de Aseguramiento de la </a:t>
            </a:r>
            <a:r>
              <a:rPr lang="es-CO" sz="1400" dirty="0" smtClean="0"/>
              <a:t>calidad de la FT.</a:t>
            </a:r>
            <a:endParaRPr lang="es-CO" sz="1400" dirty="0"/>
          </a:p>
        </p:txBody>
      </p:sp>
      <p:sp>
        <p:nvSpPr>
          <p:cNvPr id="5" name="4 Rectángulo"/>
          <p:cNvSpPr/>
          <p:nvPr/>
        </p:nvSpPr>
        <p:spPr>
          <a:xfrm>
            <a:off x="611560" y="4149080"/>
            <a:ext cx="1656184" cy="95410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CO" sz="1400" dirty="0"/>
              <a:t>Fortalecimiento y modernización de la gestión de </a:t>
            </a:r>
            <a:r>
              <a:rPr lang="es-CO" sz="1400" dirty="0" smtClean="0"/>
              <a:t>la FTDH.</a:t>
            </a:r>
            <a:endParaRPr lang="es-CO" sz="1400" dirty="0"/>
          </a:p>
        </p:txBody>
      </p:sp>
      <p:sp>
        <p:nvSpPr>
          <p:cNvPr id="6" name="5 Rectángulo"/>
          <p:cNvSpPr/>
          <p:nvPr/>
        </p:nvSpPr>
        <p:spPr>
          <a:xfrm>
            <a:off x="6300192" y="5139189"/>
            <a:ext cx="2304256" cy="95410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es-CO" sz="1400" dirty="0" smtClean="0"/>
              <a:t>Construcción del MNC</a:t>
            </a:r>
          </a:p>
          <a:p>
            <a:pPr lvl="0" algn="ctr"/>
            <a:r>
              <a:rPr lang="es-CO" sz="1400" dirty="0" smtClean="0"/>
              <a:t>Articulación de la </a:t>
            </a:r>
          </a:p>
          <a:p>
            <a:pPr lvl="0" algn="ctr"/>
            <a:r>
              <a:rPr lang="es-CO" sz="1400" dirty="0" smtClean="0"/>
              <a:t>Educación Media </a:t>
            </a:r>
          </a:p>
          <a:p>
            <a:pPr lvl="0" algn="ctr"/>
            <a:r>
              <a:rPr lang="es-CO" sz="1400" dirty="0" smtClean="0"/>
              <a:t>con la Terciaria.</a:t>
            </a:r>
            <a:endParaRPr lang="es-CO" sz="1400" dirty="0"/>
          </a:p>
        </p:txBody>
      </p:sp>
      <p:sp>
        <p:nvSpPr>
          <p:cNvPr id="8" name="7 Rectángulo"/>
          <p:cNvSpPr/>
          <p:nvPr/>
        </p:nvSpPr>
        <p:spPr>
          <a:xfrm>
            <a:off x="1403648" y="1556792"/>
            <a:ext cx="2514638" cy="73866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es-CO" sz="1400" dirty="0"/>
              <a:t>Consolidación del </a:t>
            </a:r>
            <a:r>
              <a:rPr lang="es-CO" sz="1400" dirty="0" smtClean="0"/>
              <a:t>Sistema</a:t>
            </a:r>
          </a:p>
          <a:p>
            <a:pPr lvl="0" algn="ctr"/>
            <a:r>
              <a:rPr lang="es-CO" sz="1400" dirty="0" smtClean="0"/>
              <a:t> </a:t>
            </a:r>
            <a:r>
              <a:rPr lang="es-CO" sz="1400" dirty="0"/>
              <a:t>de </a:t>
            </a:r>
            <a:r>
              <a:rPr lang="es-CO" sz="1400" dirty="0" smtClean="0"/>
              <a:t>Formación para el trabajo.</a:t>
            </a:r>
          </a:p>
          <a:p>
            <a:pPr lvl="0" algn="ctr"/>
            <a:r>
              <a:rPr lang="es-CO" sz="1400" dirty="0" smtClean="0"/>
              <a:t>Redes Regionales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xmlns="" val="3760832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39 Título"/>
          <p:cNvSpPr txBox="1">
            <a:spLocks/>
          </p:cNvSpPr>
          <p:nvPr/>
        </p:nvSpPr>
        <p:spPr bwMode="auto">
          <a:xfrm>
            <a:off x="611188" y="-31750"/>
            <a:ext cx="5494337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3000"/>
              </a:lnSpc>
            </a:pPr>
            <a:endParaRPr lang="es-ES" sz="3200" b="1">
              <a:solidFill>
                <a:srgbClr val="006666"/>
              </a:solidFill>
              <a:latin typeface="Calibri" pitchFamily="34" charset="0"/>
            </a:endParaRPr>
          </a:p>
        </p:txBody>
      </p:sp>
      <p:sp>
        <p:nvSpPr>
          <p:cNvPr id="6" name="Rectangle 2"/>
          <p:cNvSpPr txBox="1">
            <a:spLocks noRot="1" noChangeArrowheads="1"/>
          </p:cNvSpPr>
          <p:nvPr/>
        </p:nvSpPr>
        <p:spPr bwMode="auto">
          <a:xfrm>
            <a:off x="611188" y="1412776"/>
            <a:ext cx="7888960" cy="446449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dk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es-CO" sz="4400" dirty="0" smtClean="0"/>
          </a:p>
          <a:p>
            <a:pPr algn="ctr">
              <a:buFont typeface="Wingdings" pitchFamily="2" charset="2"/>
              <a:buNone/>
            </a:pPr>
            <a:endParaRPr lang="es-CO" sz="4400" dirty="0" smtClean="0"/>
          </a:p>
          <a:p>
            <a:pPr algn="ctr">
              <a:buFont typeface="Wingdings" pitchFamily="2" charset="2"/>
              <a:buNone/>
            </a:pPr>
            <a:r>
              <a:rPr lang="es-CO" sz="4400" b="1" dirty="0" smtClean="0">
                <a:latin typeface="Lucida Calligraphy" pitchFamily="66" charset="0"/>
              </a:rPr>
              <a:t>“</a:t>
            </a:r>
            <a:r>
              <a:rPr lang="es-ES" sz="4400" dirty="0">
                <a:latin typeface="Lucida Calligraphy" pitchFamily="66" charset="0"/>
              </a:rPr>
              <a:t>La Locura es hacer la misma cosa una y otra vez esperando obtener diferentes </a:t>
            </a:r>
            <a:r>
              <a:rPr lang="es-ES" sz="4400" dirty="0" smtClean="0">
                <a:latin typeface="Lucida Calligraphy" pitchFamily="66" charset="0"/>
              </a:rPr>
              <a:t>resultados</a:t>
            </a:r>
            <a:r>
              <a:rPr lang="es-ES" sz="4400" dirty="0" smtClean="0"/>
              <a:t>“</a:t>
            </a:r>
          </a:p>
          <a:p>
            <a:pPr algn="ctr">
              <a:buFont typeface="Wingdings" pitchFamily="2" charset="2"/>
              <a:buNone/>
            </a:pPr>
            <a:endParaRPr lang="es-ES" sz="4400" dirty="0" smtClean="0"/>
          </a:p>
          <a:p>
            <a:pPr algn="r">
              <a:buFont typeface="Wingdings" pitchFamily="2" charset="2"/>
              <a:buNone/>
            </a:pPr>
            <a:r>
              <a:rPr lang="es-ES" sz="3300" dirty="0"/>
              <a:t>Albert Einstein</a:t>
            </a:r>
            <a:endParaRPr lang="es-CO" sz="3300" b="1" dirty="0" smtClean="0">
              <a:latin typeface="Lucida Calligraphy" pitchFamily="66" charset="0"/>
            </a:endParaRPr>
          </a:p>
          <a:p>
            <a:pPr algn="ctr">
              <a:buFont typeface="Wingdings" pitchFamily="2" charset="2"/>
              <a:buNone/>
            </a:pPr>
            <a:endParaRPr lang="es-CO" sz="1900" dirty="0" smtClean="0"/>
          </a:p>
          <a:p>
            <a:pPr algn="r">
              <a:buFont typeface="Wingdings" pitchFamily="2" charset="2"/>
              <a:buNone/>
            </a:pPr>
            <a:endParaRPr lang="es-ES" sz="2400" b="1" dirty="0" smtClean="0">
              <a:latin typeface="Lucida Calligraphy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0487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9|4.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heme/theme1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ustin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wrap="none" lIns="91440" tIns="45720" rIns="91440" bIns="45720">
        <a:spAutoFit/>
        <a:scene3d>
          <a:camera prst="orthographicFront">
            <a:rot lat="0" lon="0" rev="0"/>
          </a:camera>
          <a:lightRig rig="contrasting" dir="t">
            <a:rot lat="0" lon="0" rev="4500000"/>
          </a:lightRig>
        </a:scene3d>
        <a:sp3d contourW="6350" prstMaterial="metal">
          <a:bevelT w="127000" h="31750" prst="relaxedInset"/>
          <a:contourClr>
            <a:schemeClr val="accent1">
              <a:shade val="75000"/>
            </a:schemeClr>
          </a:contourClr>
        </a:sp3d>
      </a:bodyPr>
      <a:lstStyle>
        <a:defPPr algn="ctr">
          <a:defRPr sz="2000" cap="all" dirty="0" smtClean="0">
            <a:ln w="0"/>
            <a:gradFill flip="none">
              <a:gsLst>
                <a:gs pos="0">
                  <a:schemeClr val="accent1">
                    <a:tint val="75000"/>
                    <a:shade val="75000"/>
                    <a:satMod val="170000"/>
                  </a:schemeClr>
                </a:gs>
                <a:gs pos="49000">
                  <a:schemeClr val="accent1">
                    <a:tint val="88000"/>
                    <a:shade val="65000"/>
                    <a:satMod val="172000"/>
                  </a:schemeClr>
                </a:gs>
                <a:gs pos="50000">
                  <a:schemeClr val="accent1">
                    <a:shade val="65000"/>
                    <a:satMod val="130000"/>
                  </a:schemeClr>
                </a:gs>
                <a:gs pos="92000">
                  <a:schemeClr val="accent1">
                    <a:shade val="50000"/>
                    <a:satMod val="120000"/>
                  </a:schemeClr>
                </a:gs>
                <a:gs pos="100000">
                  <a:schemeClr val="accent1">
                    <a:shade val="48000"/>
                    <a:satMod val="120000"/>
                  </a:schemeClr>
                </a:gs>
              </a:gsLst>
              <a:lin ang="5400000"/>
            </a:gradFill>
            <a:effectLst>
              <a:reflection blurRad="12700" stA="50000" endPos="50000" dist="5000" dir="5400000" sy="-100000" rotWithShape="0"/>
            </a:effectLst>
            <a:latin typeface="Arial Rounded MT Bold" pitchFamily="34" charset="0"/>
          </a:defRPr>
        </a:defPPr>
      </a:lstStyle>
    </a:spDef>
  </a:objectDefaults>
  <a:extraClrSchemeLst/>
</a:theme>
</file>

<file path=ppt/theme/theme4.xml><?xml version="1.0" encoding="utf-8"?>
<a:theme xmlns:a="http://schemas.openxmlformats.org/drawingml/2006/main" name="Presentación Ofiicial ME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F633887F102C643A1C1EC6573341BEB" ma:contentTypeVersion="0" ma:contentTypeDescription="Crear nuevo documento." ma:contentTypeScope="" ma:versionID="728de8a5e371a84624f93a462b5c8aa9">
  <xsd:schema xmlns:xsd="http://www.w3.org/2001/XMLSchema" xmlns:p="http://schemas.microsoft.com/office/2006/metadata/properties" targetNamespace="http://schemas.microsoft.com/office/2006/metadata/properties" ma:root="true" ma:fieldsID="27f9851a2d8c981023976182fd07483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05E05C-4E07-4A93-AC54-E6E37CCB49CA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83F6F86F-8847-401A-AD8A-7DEB1A5A0B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456622AC-20A1-4FF2-9ED2-C602BFB4351F}">
  <ds:schemaRefs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73373E09-31A7-4E80-AF4A-E61CDF645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11</TotalTime>
  <Words>3576</Words>
  <Application>Microsoft Office PowerPoint</Application>
  <PresentationFormat>Presentación en pantalla (4:3)</PresentationFormat>
  <Paragraphs>1030</Paragraphs>
  <Slides>45</Slides>
  <Notes>7</Notes>
  <HiddenSlides>0</HiddenSlides>
  <MMClips>0</MMClips>
  <ScaleCrop>false</ScaleCrop>
  <HeadingPairs>
    <vt:vector size="4" baseType="variant">
      <vt:variant>
        <vt:lpstr>Tema</vt:lpstr>
      </vt:variant>
      <vt:variant>
        <vt:i4>6</vt:i4>
      </vt:variant>
      <vt:variant>
        <vt:lpstr>Títulos de diapositiva</vt:lpstr>
      </vt:variant>
      <vt:variant>
        <vt:i4>45</vt:i4>
      </vt:variant>
    </vt:vector>
  </HeadingPairs>
  <TitlesOfParts>
    <vt:vector size="51" baseType="lpstr">
      <vt:lpstr>1_Diseño personalizado</vt:lpstr>
      <vt:lpstr>3_Diseño personalizado</vt:lpstr>
      <vt:lpstr>2_Diseño personalizado</vt:lpstr>
      <vt:lpstr>Presentación Ofiicial MEN</vt:lpstr>
      <vt:lpstr>4_Diseño personalizado</vt:lpstr>
      <vt:lpstr>5_Diseño personalizado</vt:lpstr>
      <vt:lpstr>III Encuentro de Secretarios de Educación      Noviembre 27-29 de 2013 </vt:lpstr>
      <vt:lpstr>Diapositiva 2</vt:lpstr>
      <vt:lpstr>Diapositiva 3</vt:lpstr>
      <vt:lpstr>Diapositiva 4</vt:lpstr>
      <vt:lpstr>Diapositiva 5</vt:lpstr>
      <vt:lpstr>Diapositiva 6</vt:lpstr>
      <vt:lpstr>Diapositiva 7</vt:lpstr>
      <vt:lpstr>POLÍTICA EDUCATIVA 2010 - 2014</vt:lpstr>
      <vt:lpstr>Diapositiva 9</vt:lpstr>
      <vt:lpstr>  DESAFÍOS  </vt:lpstr>
      <vt:lpstr>Diapositiva 11</vt:lpstr>
      <vt:lpstr>Diapositiva 12</vt:lpstr>
      <vt:lpstr>Diapositiva 13</vt:lpstr>
      <vt:lpstr>Diapositiva 14</vt:lpstr>
      <vt:lpstr>1. Consolidar Sistema de aseguramiento y fomento de la calidad de la FTDH</vt:lpstr>
      <vt:lpstr>Diapositiva 16</vt:lpstr>
      <vt:lpstr>Diapositiva 17</vt:lpstr>
      <vt:lpstr>Diapositiva 18</vt:lpstr>
      <vt:lpstr>Diapositiva 19</vt:lpstr>
      <vt:lpstr>CONDICIONES DE CALIDAD PARA PROGRAMAS</vt:lpstr>
      <vt:lpstr>MODELOS ASEGURAMIENTO DE CALIDAD ETDH </vt:lpstr>
      <vt:lpstr>Diapositiva 22</vt:lpstr>
      <vt:lpstr>2. Fomentar innovación y pertinencia  de la FTDH </vt:lpstr>
      <vt:lpstr>Diapositiva 24</vt:lpstr>
      <vt:lpstr>Diapositiva 25</vt:lpstr>
      <vt:lpstr>3. Brindar asistencia técnica efectiva a ET e IFTDH</vt:lpstr>
      <vt:lpstr>Diapositiva 27</vt:lpstr>
      <vt:lpstr>Diapositiva 28</vt:lpstr>
      <vt:lpstr>Diapositiva 29</vt:lpstr>
      <vt:lpstr>Diapositiva 30</vt:lpstr>
      <vt:lpstr>Diapositiva 31</vt:lpstr>
      <vt:lpstr>Diapositiva 32</vt:lpstr>
      <vt:lpstr>4. Asegurar la articulación entre los niveles educativos y el sector productivo</vt:lpstr>
      <vt:lpstr>5. Consolidación Sistema Nacional de Formación para el Trabajo</vt:lpstr>
      <vt:lpstr>Diapositiva 35</vt:lpstr>
      <vt:lpstr>Diapositiva 36</vt:lpstr>
      <vt:lpstr>Diapositiva 37</vt:lpstr>
      <vt:lpstr>6. Fortalecimiento Institucional</vt:lpstr>
      <vt:lpstr>Diapositiva 39</vt:lpstr>
      <vt:lpstr>Diapositiva 40</vt:lpstr>
      <vt:lpstr>Diapositiva 41</vt:lpstr>
      <vt:lpstr>Diapositiva 42</vt:lpstr>
      <vt:lpstr>Diapositiva 43</vt:lpstr>
      <vt:lpstr>Diapositiva 44</vt:lpstr>
      <vt:lpstr>Diapositiva 45</vt:lpstr>
    </vt:vector>
  </TitlesOfParts>
  <Company>EMA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AC</dc:creator>
  <cp:lastModifiedBy>EVENTOS</cp:lastModifiedBy>
  <cp:revision>760</cp:revision>
  <cp:lastPrinted>2013-07-22T20:49:27Z</cp:lastPrinted>
  <dcterms:created xsi:type="dcterms:W3CDTF">2010-11-03T23:49:45Z</dcterms:created>
  <dcterms:modified xsi:type="dcterms:W3CDTF">2013-11-28T12:5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o</vt:lpwstr>
  </property>
</Properties>
</file>